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22" r:id="rId2"/>
    <p:sldId id="337" r:id="rId3"/>
    <p:sldId id="338" r:id="rId4"/>
    <p:sldId id="339" r:id="rId5"/>
    <p:sldId id="323" r:id="rId6"/>
    <p:sldId id="324" r:id="rId7"/>
    <p:sldId id="340" r:id="rId8"/>
    <p:sldId id="325" r:id="rId9"/>
    <p:sldId id="326" r:id="rId10"/>
    <p:sldId id="327" r:id="rId11"/>
    <p:sldId id="328" r:id="rId12"/>
    <p:sldId id="329" r:id="rId13"/>
    <p:sldId id="332" r:id="rId14"/>
    <p:sldId id="330" r:id="rId15"/>
    <p:sldId id="333" r:id="rId16"/>
    <p:sldId id="334" r:id="rId17"/>
    <p:sldId id="335" r:id="rId18"/>
    <p:sldId id="336" r:id="rId19"/>
  </p:sldIdLst>
  <p:sldSz cx="9144000" cy="6858000" type="screen4x3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5" d="100"/>
          <a:sy n="125" d="100"/>
        </p:scale>
        <p:origin x="1194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726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42164F-17B4-48C3-8B62-376347A2AE68}" type="datetimeFigureOut">
              <a:rPr lang="en-US" smtClean="0"/>
              <a:t>03.11.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67A28E-2FA5-4743-AAED-5F7E058FFC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8572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636083-D1A3-4F71-A3A5-3BFD33CC9875}" type="datetimeFigureOut">
              <a:rPr lang="en-US" smtClean="0"/>
              <a:t>03.11.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3AD8A-9EFF-4C9C-A537-C299C84A0C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846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4940137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877" indent="-285722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2888" indent="-228578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043" indent="-228578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199" indent="-228578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354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509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8664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5819" indent="-22857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fld id="{EA3B7C96-B72A-4B9C-8604-446D028D1DC2}" type="slidenum">
              <a:rPr lang="en-US" altLang="en-US"/>
              <a:pPr/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353716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571034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822867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520084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40242457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9300611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2533417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317583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41600541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buFontTx/>
              <a:buAutoNum type="arabicPeriod"/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146950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4" Type="http://schemas.openxmlformats.org/officeDocument/2006/relationships/image" Target="../media/image5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46674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044725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43537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/>
          <p:cNvSpPr/>
          <p:nvPr userDrawn="1"/>
        </p:nvSpPr>
        <p:spPr>
          <a:xfrm>
            <a:off x="107950" y="6237288"/>
            <a:ext cx="8712200" cy="576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7" name="Rectangle 10"/>
          <p:cNvSpPr/>
          <p:nvPr userDrawn="1">
            <p:custDataLst>
              <p:tags r:id="rId1"/>
            </p:custDataLst>
          </p:nvPr>
        </p:nvSpPr>
        <p:spPr bwMode="auto">
          <a:xfrm>
            <a:off x="233363" y="233363"/>
            <a:ext cx="8685212" cy="5637212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rgbClr val="91004B"/>
              </a:gs>
              <a:gs pos="100000">
                <a:srgbClr val="EC4371"/>
              </a:gs>
            </a:gsLst>
            <a:lin ang="2100000" scaled="1"/>
          </a:gra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10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413" y="6329363"/>
            <a:ext cx="1601787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088" y="6399213"/>
            <a:ext cx="1728787" cy="26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smtClean="0"/>
              <a:t>Klik om de tekststijl van het model te bewerk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Klik om de tekststijl van het model te bewerke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Klik om de tekststijl van het model te bewerken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Klik om de tekststijl van het model te bewerken</a:t>
            </a:r>
          </a:p>
          <a:p>
            <a:pPr lvl="1"/>
            <a:r>
              <a:rPr lang="en-US" noProof="0" smtClean="0"/>
              <a:t>Tweede niveau</a:t>
            </a:r>
          </a:p>
        </p:txBody>
      </p:sp>
    </p:spTree>
    <p:extLst>
      <p:ext uri="{BB962C8B-B14F-4D97-AF65-F5344CB8AC3E}">
        <p14:creationId xmlns:p14="http://schemas.microsoft.com/office/powerpoint/2010/main" val="18274241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633165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5538599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2620037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9127615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754502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846723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3455730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911303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79359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428714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19097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009009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29618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9"/>
          <p:cNvSpPr>
            <a:spLocks/>
          </p:cNvSpPr>
          <p:nvPr userDrawn="1">
            <p:custDataLst>
              <p:tags r:id="rId1"/>
            </p:custDataLst>
          </p:nvPr>
        </p:nvSpPr>
        <p:spPr bwMode="auto">
          <a:xfrm>
            <a:off x="0" y="0"/>
            <a:ext cx="9144000" cy="6858000"/>
          </a:xfrm>
          <a:custGeom>
            <a:avLst/>
            <a:gdLst>
              <a:gd name="T0" fmla="*/ 0 w 9144001"/>
              <a:gd name="T1" fmla="*/ 0 h 6858001"/>
              <a:gd name="T2" fmla="*/ 9143966 w 9144001"/>
              <a:gd name="T3" fmla="*/ 0 h 6858001"/>
              <a:gd name="T4" fmla="*/ 9143966 w 9144001"/>
              <a:gd name="T5" fmla="*/ 6857966 h 6858001"/>
              <a:gd name="T6" fmla="*/ 9143966 w 9144001"/>
              <a:gd name="T7" fmla="*/ 6857966 h 6858001"/>
              <a:gd name="T8" fmla="*/ 0 w 9144001"/>
              <a:gd name="T9" fmla="*/ 6857966 h 6858001"/>
              <a:gd name="T10" fmla="*/ 0 w 9144001"/>
              <a:gd name="T11" fmla="*/ 0 h 685800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144001"/>
              <a:gd name="T19" fmla="*/ 0 h 6858001"/>
              <a:gd name="T20" fmla="*/ 9144001 w 9144001"/>
              <a:gd name="T21" fmla="*/ 6858001 h 685800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/>
          <a:lstStyle/>
          <a:p>
            <a:endParaRPr lang="nl-NL"/>
          </a:p>
        </p:txBody>
      </p:sp>
      <p:pic>
        <p:nvPicPr>
          <p:cNvPr id="3" name="Picture 4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5238" y="2457450"/>
            <a:ext cx="1527175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9709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260669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26066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3526066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10" descr="Pila_logo_transparant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7800" y="6467475"/>
            <a:ext cx="6191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Rechte verbindingslijn 9"/>
          <p:cNvCxnSpPr/>
          <p:nvPr userDrawn="1"/>
        </p:nvCxnSpPr>
        <p:spPr>
          <a:xfrm flipV="1">
            <a:off x="436563" y="873125"/>
            <a:ext cx="8264525" cy="9525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2" y="273539"/>
            <a:ext cx="8176985" cy="79130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28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nl-NL" noProof="0" dirty="0" smtClean="0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8106704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Picture 6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99456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75389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10" name="Picture 9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570132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Picture 5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74566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5" name="Picture 4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24082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40972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0095" y="6329934"/>
            <a:ext cx="1601978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08347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3372E-2FC3-4D31-908E-8524388470D6}" type="datetimeFigureOut">
              <a:rPr lang="pl-PL" smtClean="0"/>
              <a:t>03.11.2015</a:t>
            </a:fld>
            <a:endParaRPr lang="pl-P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C3A754-3F97-46D5-A5F8-EB7EE3A3EB1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84023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4" r:id="rId21"/>
    <p:sldLayoutId id="2147483675" r:id="rId22"/>
    <p:sldLayoutId id="2147483676" r:id="rId23"/>
    <p:sldLayoutId id="2147483677" r:id="rId24"/>
    <p:sldLayoutId id="2147483678" r:id="rId25"/>
    <p:sldLayoutId id="2147483679" r:id="rId26"/>
    <p:sldLayoutId id="2147483680" r:id="rId27"/>
    <p:sldLayoutId id="2147483681" r:id="rId28"/>
    <p:sldLayoutId id="2147483682" r:id="rId2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5.png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7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8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2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2.png"/><Relationship Id="rId18" Type="http://schemas.openxmlformats.org/officeDocument/2006/relationships/image" Target="../media/image17.png"/><Relationship Id="rId3" Type="http://schemas.openxmlformats.org/officeDocument/2006/relationships/tags" Target="../tags/tag34.xml"/><Relationship Id="rId21" Type="http://schemas.openxmlformats.org/officeDocument/2006/relationships/image" Target="../media/image19.png"/><Relationship Id="rId7" Type="http://schemas.openxmlformats.org/officeDocument/2006/relationships/tags" Target="../tags/tag38.xml"/><Relationship Id="rId12" Type="http://schemas.openxmlformats.org/officeDocument/2006/relationships/image" Target="../media/image11.png"/><Relationship Id="rId17" Type="http://schemas.openxmlformats.org/officeDocument/2006/relationships/image" Target="../media/image16.png"/><Relationship Id="rId2" Type="http://schemas.openxmlformats.org/officeDocument/2006/relationships/tags" Target="../tags/tag33.xml"/><Relationship Id="rId16" Type="http://schemas.openxmlformats.org/officeDocument/2006/relationships/image" Target="../media/image15.png"/><Relationship Id="rId20" Type="http://schemas.openxmlformats.org/officeDocument/2006/relationships/image" Target="../media/image18.pn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10.png"/><Relationship Id="rId5" Type="http://schemas.openxmlformats.org/officeDocument/2006/relationships/tags" Target="../tags/tag36.xml"/><Relationship Id="rId15" Type="http://schemas.openxmlformats.org/officeDocument/2006/relationships/image" Target="../media/image14.png"/><Relationship Id="rId10" Type="http://schemas.openxmlformats.org/officeDocument/2006/relationships/image" Target="../media/image9.jpeg"/><Relationship Id="rId19" Type="http://schemas.openxmlformats.org/officeDocument/2006/relationships/image" Target="../media/image6.png"/><Relationship Id="rId4" Type="http://schemas.openxmlformats.org/officeDocument/2006/relationships/tags" Target="../tags/tag35.xml"/><Relationship Id="rId9" Type="http://schemas.openxmlformats.org/officeDocument/2006/relationships/image" Target="../media/image8.jpeg"/><Relationship Id="rId14" Type="http://schemas.openxmlformats.org/officeDocument/2006/relationships/image" Target="../media/image13.png"/><Relationship Id="rId22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4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 smtClean="0"/>
              <a:t>PILA LE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53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en-US" altLang="en-US" sz="3200" dirty="0" smtClean="0">
                <a:solidFill>
                  <a:srgbClr val="F37B18"/>
                </a:solidFill>
              </a:rPr>
              <a:t>LED candle </a:t>
            </a:r>
            <a:r>
              <a:rPr lang="en-US" altLang="en-US" sz="2000" dirty="0" smtClean="0">
                <a:solidFill>
                  <a:srgbClr val="F37B18"/>
                </a:solidFill>
              </a:rPr>
              <a:t>- PILA LED 40W E14 WW B35 FR ND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6331030"/>
              </p:ext>
            </p:extLst>
          </p:nvPr>
        </p:nvGraphicFramePr>
        <p:xfrm>
          <a:off x="5432425" y="1109663"/>
          <a:ext cx="3522663" cy="5403851"/>
        </p:xfrm>
        <a:graphic>
          <a:graphicData uri="http://schemas.openxmlformats.org/drawingml/2006/table">
            <a:tbl>
              <a:tblPr/>
              <a:tblGrid>
                <a:gridCol w="1659855"/>
                <a:gridCol w="1862808"/>
              </a:tblGrid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40W E14 B35 FR ND </a:t>
                      </a:r>
                      <a:endParaRPr kumimoji="0" lang="nl-NL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262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6x10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.5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14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70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4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7994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5886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5887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8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91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50" y="1485900"/>
            <a:ext cx="1608138" cy="436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52859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77500" lnSpcReduction="20000"/>
          </a:bodyPr>
          <a:lstStyle/>
          <a:p>
            <a:pPr>
              <a:spcBef>
                <a:spcPct val="0"/>
              </a:spcBef>
            </a:pPr>
            <a:r>
              <a:rPr lang="nl-NL" altLang="en-US" sz="3600" dirty="0" smtClean="0">
                <a:solidFill>
                  <a:srgbClr val="F37B18"/>
                </a:solidFill>
              </a:rPr>
              <a:t>LED reflector GU10 </a:t>
            </a:r>
            <a:r>
              <a:rPr lang="nl-NL" altLang="en-US" sz="2400" dirty="0" smtClean="0">
                <a:solidFill>
                  <a:srgbClr val="F37B18"/>
                </a:solidFill>
              </a:rPr>
              <a:t>- </a:t>
            </a:r>
            <a:r>
              <a:rPr lang="pl-PL" altLang="en-US" sz="2400" dirty="0" smtClean="0">
                <a:solidFill>
                  <a:srgbClr val="F37B18"/>
                </a:solidFill>
              </a:rPr>
              <a:t>PILA LED 35W GU10 WW 36D ND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0713131"/>
              </p:ext>
            </p:extLst>
          </p:nvPr>
        </p:nvGraphicFramePr>
        <p:xfrm>
          <a:off x="5486400" y="1119188"/>
          <a:ext cx="3549650" cy="5403851"/>
        </p:xfrm>
        <a:graphic>
          <a:graphicData uri="http://schemas.openxmlformats.org/drawingml/2006/table">
            <a:tbl>
              <a:tblPr/>
              <a:tblGrid>
                <a:gridCol w="1677888"/>
                <a:gridCol w="1871762"/>
              </a:tblGrid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35W GU10 36D ND 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187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0x55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.3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5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U1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3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+mn-cs"/>
                        </a:rPr>
                        <a:t>Certification</a:t>
                      </a: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pl-PL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+mn-cs"/>
                        </a:rPr>
                        <a:t>CE</a:t>
                      </a:r>
                      <a:endParaRPr kumimoji="0" lang="pl-PL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6910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err="1" smtClean="0">
                <a:solidFill>
                  <a:srgbClr val="000000"/>
                </a:solidFill>
              </a:rPr>
              <a:t>Directional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ght</a:t>
            </a:r>
            <a:endParaRPr lang="pl-PL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6911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912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915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875" y="2751138"/>
            <a:ext cx="2381250" cy="257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603404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nl-NL" altLang="en-US" sz="3200" dirty="0" smtClean="0">
                <a:solidFill>
                  <a:srgbClr val="F37B18"/>
                </a:solidFill>
              </a:rPr>
              <a:t>LED reflector GU10 </a:t>
            </a:r>
            <a:r>
              <a:rPr lang="nl-NL" altLang="en-US" sz="2000" dirty="0" smtClean="0">
                <a:solidFill>
                  <a:srgbClr val="F37B18"/>
                </a:solidFill>
              </a:rPr>
              <a:t>- </a:t>
            </a:r>
            <a:r>
              <a:rPr lang="pl-PL" altLang="en-US" sz="2000" dirty="0" smtClean="0">
                <a:solidFill>
                  <a:srgbClr val="F37B18"/>
                </a:solidFill>
              </a:rPr>
              <a:t>PILA LED 50W GU10 WW 36D ND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3097029"/>
              </p:ext>
            </p:extLst>
          </p:nvPr>
        </p:nvGraphicFramePr>
        <p:xfrm>
          <a:off x="5486400" y="1119188"/>
          <a:ext cx="3406080" cy="5403851"/>
        </p:xfrm>
        <a:graphic>
          <a:graphicData uri="http://schemas.openxmlformats.org/drawingml/2006/table">
            <a:tbl>
              <a:tblPr/>
              <a:tblGrid>
                <a:gridCol w="1533872"/>
                <a:gridCol w="1872208"/>
              </a:tblGrid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50W GU10 36D ND 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58738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200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58738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58738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50x55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.5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U1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45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pl-PL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+mn-cs"/>
                        </a:rPr>
                        <a:t>CE</a:t>
                      </a:r>
                      <a:endParaRPr kumimoji="0" lang="pl-PL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marL="10800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7934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err="1" smtClean="0">
                <a:solidFill>
                  <a:srgbClr val="000000"/>
                </a:solidFill>
              </a:rPr>
              <a:t>Directional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ght</a:t>
            </a:r>
            <a:endParaRPr lang="pl-PL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7935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36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39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8" y="2541588"/>
            <a:ext cx="2647950" cy="285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67897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0080190"/>
              </p:ext>
            </p:extLst>
          </p:nvPr>
        </p:nvGraphicFramePr>
        <p:xfrm>
          <a:off x="231772" y="5065713"/>
          <a:ext cx="8804723" cy="1154112"/>
        </p:xfrm>
        <a:graphic>
          <a:graphicData uri="http://schemas.openxmlformats.org/drawingml/2006/table">
            <a:tbl>
              <a:tblPr/>
              <a:tblGrid>
                <a:gridCol w="2097971"/>
                <a:gridCol w="1052153"/>
                <a:gridCol w="969606"/>
                <a:gridCol w="969606"/>
                <a:gridCol w="715807"/>
                <a:gridCol w="1272550"/>
                <a:gridCol w="977135"/>
                <a:gridCol w="749895"/>
              </a:tblGrid>
              <a:tr h="666305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108001" marR="5871" marT="6224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EAN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Wattage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</a:t>
                      </a:r>
                      <a:endParaRPr kumimoji="0" lang="en-US" altLang="pl-PL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Beam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angle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</a:tr>
              <a:tr h="48780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50W GU10 CW</a:t>
                      </a:r>
                      <a:r>
                        <a:rPr kumimoji="0" lang="zh-TW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zh-TW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</a:t>
                      </a:r>
                      <a:r>
                        <a:rPr kumimoji="0" lang="en-US" altLang="zh-TW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D</a:t>
                      </a:r>
                      <a:r>
                        <a:rPr kumimoji="0" lang="zh-TW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en-US" altLang="zh-TW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D </a:t>
                      </a:r>
                      <a:endParaRPr kumimoji="0" lang="pl-PL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8718696537015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,5W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0</a:t>
                      </a: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00K</a:t>
                      </a: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</a:t>
                      </a: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D</a:t>
                      </a: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9525" marR="9525" marT="9519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790" name="Tekstvak 7"/>
          <p:cNvSpPr txBox="1">
            <a:spLocks noChangeArrowheads="1"/>
          </p:cNvSpPr>
          <p:nvPr/>
        </p:nvSpPr>
        <p:spPr bwMode="auto">
          <a:xfrm>
            <a:off x="2717800" y="1066800"/>
            <a:ext cx="447040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sz="1400" dirty="0" err="1" smtClean="0"/>
              <a:t>Directional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light</a:t>
            </a:r>
            <a:endParaRPr lang="nl-NL" altLang="zh-CN" sz="1400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sz="1400" dirty="0" smtClean="0"/>
              <a:t>15 </a:t>
            </a:r>
            <a:r>
              <a:rPr lang="pl-PL" altLang="zh-CN" sz="1400" dirty="0" err="1" smtClean="0"/>
              <a:t>years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lifetime</a:t>
            </a:r>
            <a:r>
              <a:rPr lang="nl-NL" altLang="zh-CN" sz="1400" dirty="0" smtClean="0"/>
              <a:t> </a:t>
            </a:r>
            <a:endParaRPr lang="nl-NL" altLang="zh-CN" sz="1400" dirty="0"/>
          </a:p>
          <a:p>
            <a:pPr>
              <a:buClr>
                <a:srgbClr val="F37B18"/>
              </a:buClr>
              <a:buFont typeface="Arial" charset="0"/>
              <a:buChar char="•"/>
            </a:pPr>
            <a:r>
              <a:rPr lang="en-US" altLang="en-US" sz="1400" dirty="0">
                <a:solidFill>
                  <a:srgbClr val="000000"/>
                </a:solidFill>
              </a:rPr>
              <a:t>Up to 85% energy saving</a:t>
            </a:r>
          </a:p>
          <a:p>
            <a:pPr>
              <a:buClr>
                <a:srgbClr val="F37B18"/>
              </a:buClr>
              <a:buFont typeface="Arial" charset="0"/>
              <a:buChar char="•"/>
            </a:pPr>
            <a:r>
              <a:rPr lang="pl-PL" altLang="en-US" sz="1400" dirty="0">
                <a:solidFill>
                  <a:srgbClr val="000000"/>
                </a:solidFill>
              </a:rPr>
              <a:t>Instant start</a:t>
            </a:r>
            <a:endParaRPr lang="en-US" altLang="en-US" sz="1400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sz="1400" dirty="0" err="1" smtClean="0"/>
              <a:t>Coool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white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light</a:t>
            </a:r>
            <a:r>
              <a:rPr lang="pl-PL" altLang="zh-CN" sz="1400" dirty="0" smtClean="0"/>
              <a:t>: 4</a:t>
            </a:r>
            <a:r>
              <a:rPr lang="nl-NL" altLang="zh-CN" sz="1400" dirty="0"/>
              <a:t>000K     </a:t>
            </a:r>
            <a:endParaRPr lang="pl-PL" altLang="zh-CN" sz="1400" dirty="0" smtClean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sz="1400" dirty="0" err="1" smtClean="0"/>
              <a:t>Wide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beam</a:t>
            </a:r>
            <a:r>
              <a:rPr lang="pl-PL" altLang="zh-CN" sz="1400" dirty="0" smtClean="0"/>
              <a:t> </a:t>
            </a:r>
            <a:r>
              <a:rPr lang="pl-PL" altLang="zh-CN" sz="1400" dirty="0" err="1" smtClean="0"/>
              <a:t>angle</a:t>
            </a:r>
            <a:r>
              <a:rPr lang="pl-PL" altLang="zh-CN" sz="1400" dirty="0" smtClean="0"/>
              <a:t>: 60 </a:t>
            </a:r>
            <a:r>
              <a:rPr lang="pl-PL" altLang="zh-CN" sz="1400" dirty="0" err="1" smtClean="0"/>
              <a:t>degrees</a:t>
            </a:r>
            <a:endParaRPr lang="en-US" altLang="zh-CN" sz="800" dirty="0"/>
          </a:p>
        </p:txBody>
      </p:sp>
      <p:pic>
        <p:nvPicPr>
          <p:cNvPr id="32791" name="Picture 5__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49388"/>
            <a:ext cx="2112963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9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4605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96" name="Picture 2" descr="63830211_537015_LEDSPOT_MV_NON_DLR.pdf - Google Chrome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3" t="15688" r="7336" b="29803"/>
          <a:stretch>
            <a:fillRect/>
          </a:stretch>
        </p:blipFill>
        <p:spPr bwMode="auto">
          <a:xfrm>
            <a:off x="4932040" y="2949311"/>
            <a:ext cx="4077023" cy="1981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7463" y="44624"/>
            <a:ext cx="7240882" cy="791308"/>
          </a:xfrm>
        </p:spPr>
        <p:txBody>
          <a:bodyPr>
            <a:noAutofit/>
          </a:bodyPr>
          <a:lstStyle/>
          <a:p>
            <a:r>
              <a:rPr lang="nl-NL" altLang="en-US" sz="3200" dirty="0">
                <a:solidFill>
                  <a:srgbClr val="F37B18"/>
                </a:solidFill>
              </a:rPr>
              <a:t>LED reflector GU10 </a:t>
            </a:r>
            <a:r>
              <a:rPr lang="nl-NL" altLang="en-US" sz="2000" dirty="0">
                <a:solidFill>
                  <a:srgbClr val="F37B18"/>
                </a:solidFill>
              </a:rPr>
              <a:t>- </a:t>
            </a:r>
            <a:r>
              <a:rPr lang="pl-PL" altLang="en-US" sz="2000" dirty="0">
                <a:solidFill>
                  <a:srgbClr val="F37B18"/>
                </a:solidFill>
              </a:rPr>
              <a:t>PILA LED 50W GU10 WW </a:t>
            </a:r>
            <a:r>
              <a:rPr lang="pl-PL" altLang="en-US" sz="2000" dirty="0" smtClean="0">
                <a:solidFill>
                  <a:srgbClr val="F37B18"/>
                </a:solidFill>
              </a:rPr>
              <a:t>60D ND  –</a:t>
            </a:r>
            <a:r>
              <a:rPr lang="pl-PL" altLang="en-US" sz="2000" dirty="0" err="1" smtClean="0">
                <a:solidFill>
                  <a:srgbClr val="FF0000"/>
                </a:solidFill>
              </a:rPr>
              <a:t>wide</a:t>
            </a:r>
            <a:r>
              <a:rPr lang="pl-PL" altLang="en-US" sz="2000" dirty="0" smtClean="0">
                <a:solidFill>
                  <a:srgbClr val="FF0000"/>
                </a:solidFill>
              </a:rPr>
              <a:t> </a:t>
            </a:r>
            <a:r>
              <a:rPr lang="pl-PL" altLang="en-US" sz="2000" dirty="0" err="1" smtClean="0">
                <a:solidFill>
                  <a:srgbClr val="FF0000"/>
                </a:solidFill>
              </a:rPr>
              <a:t>beam</a:t>
            </a:r>
            <a:endParaRPr lang="pl-PL" altLang="en-US" sz="2000" dirty="0">
              <a:solidFill>
                <a:srgbClr val="FF0000"/>
              </a:solidFill>
            </a:endParaRPr>
          </a:p>
          <a:p>
            <a:endParaRPr lang="en-US" sz="2000" dirty="0"/>
          </a:p>
        </p:txBody>
      </p:sp>
      <p:sp>
        <p:nvSpPr>
          <p:cNvPr id="9" name="Tijdelijke aanduiding voor tekst 1"/>
          <p:cNvSpPr txBox="1">
            <a:spLocks/>
          </p:cNvSpPr>
          <p:nvPr/>
        </p:nvSpPr>
        <p:spPr bwMode="auto">
          <a:xfrm>
            <a:off x="427038" y="692621"/>
            <a:ext cx="8177212" cy="79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Tx/>
              <a:buNone/>
              <a:defRPr sz="280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06113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nl-NL" altLang="en-US" sz="3200" dirty="0" smtClean="0">
                <a:solidFill>
                  <a:srgbClr val="F37B18"/>
                </a:solidFill>
              </a:rPr>
              <a:t>LED reflector GU5.3 </a:t>
            </a:r>
            <a:r>
              <a:rPr lang="nl-NL" altLang="en-US" sz="2000" dirty="0" smtClean="0">
                <a:solidFill>
                  <a:srgbClr val="F37B18"/>
                </a:solidFill>
              </a:rPr>
              <a:t>- </a:t>
            </a:r>
            <a:r>
              <a:rPr lang="pl-PL" altLang="en-US" sz="2000" dirty="0" smtClean="0">
                <a:solidFill>
                  <a:srgbClr val="F37B18"/>
                </a:solidFill>
              </a:rPr>
              <a:t>PILA LED 35W GU5.3 WW 12V 36D ND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430528"/>
              </p:ext>
            </p:extLst>
          </p:nvPr>
        </p:nvGraphicFramePr>
        <p:xfrm>
          <a:off x="5486400" y="1119188"/>
          <a:ext cx="3550096" cy="5451479"/>
        </p:xfrm>
        <a:graphic>
          <a:graphicData uri="http://schemas.openxmlformats.org/drawingml/2006/table">
            <a:tbl>
              <a:tblPr/>
              <a:tblGrid>
                <a:gridCol w="1749896"/>
                <a:gridCol w="1800200"/>
              </a:tblGrid>
              <a:tr h="64009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35W GU5.3 12V 36D ND 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163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0x47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.5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5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U5.3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45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53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389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28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pl-PL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+mn-cs"/>
                        </a:rPr>
                        <a:t>CE</a:t>
                      </a:r>
                      <a:endParaRPr kumimoji="0" lang="pl-PL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+mn-cs"/>
                      </a:endParaRPr>
                    </a:p>
                  </a:txBody>
                  <a:tcPr marL="108028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8958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err="1" smtClean="0">
                <a:solidFill>
                  <a:srgbClr val="000000"/>
                </a:solidFill>
              </a:rPr>
              <a:t>Directional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ght</a:t>
            </a:r>
            <a:endParaRPr lang="pl-PL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8959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6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6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13" y="2614613"/>
            <a:ext cx="2724150" cy="254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587225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733425" y="2676525"/>
            <a:ext cx="8177213" cy="790575"/>
          </a:xfrm>
        </p:spPr>
        <p:txBody>
          <a:bodyPr/>
          <a:lstStyle/>
          <a:p>
            <a:pPr>
              <a:defRPr/>
            </a:pPr>
            <a:r>
              <a:rPr lang="pl-PL" dirty="0" err="1" smtClean="0"/>
              <a:t>Available</a:t>
            </a:r>
            <a:r>
              <a:rPr lang="pl-PL" dirty="0" smtClean="0"/>
              <a:t> of </a:t>
            </a:r>
            <a:r>
              <a:rPr lang="pl-PL" dirty="0"/>
              <a:t>J</a:t>
            </a:r>
            <a:r>
              <a:rPr lang="pl-PL" dirty="0" smtClean="0"/>
              <a:t>anuary 2016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768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9" name="Picture 2_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825" y="1682750"/>
            <a:ext cx="1460500" cy="396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 Diagonal Corner Rectangle 10"/>
          <p:cNvSpPr/>
          <p:nvPr/>
        </p:nvSpPr>
        <p:spPr>
          <a:xfrm>
            <a:off x="7340600" y="6381750"/>
            <a:ext cx="1803400" cy="361950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pic>
        <p:nvPicPr>
          <p:cNvPr id="34821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4605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2" name="Tekstvak 7"/>
          <p:cNvSpPr txBox="1">
            <a:spLocks noChangeArrowheads="1"/>
          </p:cNvSpPr>
          <p:nvPr/>
        </p:nvSpPr>
        <p:spPr bwMode="auto">
          <a:xfrm>
            <a:off x="2328863" y="1117600"/>
            <a:ext cx="3070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smtClean="0"/>
              <a:t>15 </a:t>
            </a:r>
            <a:r>
              <a:rPr lang="pl-PL" altLang="zh-CN" dirty="0" err="1" smtClean="0"/>
              <a:t>years</a:t>
            </a:r>
            <a:r>
              <a:rPr lang="pl-PL" altLang="zh-CN" dirty="0" smtClean="0"/>
              <a:t> </a:t>
            </a:r>
            <a:r>
              <a:rPr lang="pl-PL" altLang="zh-CN" dirty="0" err="1" smtClean="0"/>
              <a:t>lifetime</a:t>
            </a:r>
            <a:r>
              <a:rPr lang="pl-PL" altLang="zh-CN" dirty="0" smtClean="0"/>
              <a:t> </a:t>
            </a:r>
            <a:endParaRPr lang="nl-NL" altLang="zh-CN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err="1" smtClean="0"/>
              <a:t>Up</a:t>
            </a:r>
            <a:r>
              <a:rPr lang="pl-PL" altLang="zh-CN" dirty="0" smtClean="0"/>
              <a:t> to 85% </a:t>
            </a:r>
            <a:r>
              <a:rPr lang="pl-PL" altLang="zh-CN" dirty="0" err="1" smtClean="0"/>
              <a:t>energy</a:t>
            </a:r>
            <a:r>
              <a:rPr lang="pl-PL" altLang="zh-CN" dirty="0" smtClean="0"/>
              <a:t> </a:t>
            </a:r>
            <a:r>
              <a:rPr lang="pl-PL" altLang="zh-CN" dirty="0" err="1" smtClean="0"/>
              <a:t>saving</a:t>
            </a:r>
            <a:endParaRPr lang="nl-NL" altLang="zh-CN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b="1" dirty="0" err="1" smtClean="0"/>
              <a:t>Dimmable</a:t>
            </a:r>
            <a:endParaRPr lang="nl-NL" altLang="zh-CN" b="1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smtClean="0"/>
              <a:t>Instant start</a:t>
            </a:r>
            <a:endParaRPr lang="nl-NL" altLang="zh-CN" dirty="0"/>
          </a:p>
        </p:txBody>
      </p:sp>
      <p:graphicFrame>
        <p:nvGraphicFramePr>
          <p:cNvPr id="13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798826"/>
              </p:ext>
            </p:extLst>
          </p:nvPr>
        </p:nvGraphicFramePr>
        <p:xfrm>
          <a:off x="5004049" y="1639888"/>
          <a:ext cx="4051052" cy="5113338"/>
        </p:xfrm>
        <a:graphic>
          <a:graphicData uri="http://schemas.openxmlformats.org/drawingml/2006/table">
            <a:tbl>
              <a:tblPr/>
              <a:tblGrid>
                <a:gridCol w="1872207"/>
                <a:gridCol w="2178845"/>
              </a:tblGrid>
              <a:tr h="68275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algn="l" eaLnBrk="1" hangingPunct="1"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40W </a:t>
                      </a:r>
                      <a:r>
                        <a:rPr lang="pl-PL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E27 WW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B35</a:t>
                      </a:r>
                      <a:r>
                        <a:rPr lang="pl-PL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FR </a:t>
                      </a:r>
                    </a:p>
                    <a:p>
                      <a:pPr algn="l" eaLnBrk="1" hangingPunct="1"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latin typeface="Calibri"/>
                          <a:ea typeface="ＭＳ Ｐゴシック" charset="0"/>
                          <a:cs typeface="ＭＳ Ｐゴシック" charset="0"/>
                        </a:rPr>
                        <a:t>DIM</a:t>
                      </a:r>
                      <a:endParaRPr lang="pl-PL" sz="1400" dirty="0">
                        <a:solidFill>
                          <a:schemeClr val="tx1"/>
                        </a:solidFill>
                        <a:latin typeface="Calibri"/>
                        <a:ea typeface="ＭＳ Ｐゴシック" charset="0"/>
                        <a:cs typeface="ＭＳ Ｐゴシック" charset="0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2NC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dirty="0" smtClean="0">
                          <a:solidFill>
                            <a:schemeClr val="tx1"/>
                          </a:solidFill>
                          <a:effectLst/>
                        </a:rPr>
                        <a:t>929001195931</a:t>
                      </a:r>
                      <a:endParaRPr lang="pl-PL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53416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4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70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4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hrs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yes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6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4864" name="Picture 3_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425" y="395605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en-US" altLang="en-US" sz="3200" dirty="0" smtClean="0">
                <a:solidFill>
                  <a:srgbClr val="F37B18"/>
                </a:solidFill>
              </a:rPr>
              <a:t>LED candle </a:t>
            </a:r>
            <a:r>
              <a:rPr lang="en-US" altLang="en-US" sz="2000" dirty="0" smtClean="0">
                <a:solidFill>
                  <a:srgbClr val="F37B18"/>
                </a:solidFill>
              </a:rPr>
              <a:t>- PILA LED 40W E14 WW B35 FR </a:t>
            </a:r>
            <a:r>
              <a:rPr lang="pl-PL" altLang="en-US" sz="2000" dirty="0" err="1" smtClean="0">
                <a:solidFill>
                  <a:srgbClr val="FF0000"/>
                </a:solidFill>
              </a:rPr>
              <a:t>dimmable</a:t>
            </a:r>
            <a:r>
              <a:rPr lang="en-US" altLang="en-US" sz="20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8232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/>
          <p:cNvSpPr>
            <a:spLocks noGrp="1"/>
          </p:cNvSpPr>
          <p:nvPr>
            <p:ph type="body" sz="quarter" idx="10"/>
          </p:nvPr>
        </p:nvSpPr>
        <p:spPr>
          <a:xfrm>
            <a:off x="369888" y="268288"/>
            <a:ext cx="8175625" cy="792162"/>
          </a:xfrm>
        </p:spPr>
        <p:txBody>
          <a:bodyPr/>
          <a:lstStyle/>
          <a:p>
            <a:pPr>
              <a:defRPr/>
            </a:pPr>
            <a:r>
              <a:rPr lang="nl-NL" sz="3200" dirty="0">
                <a:ea typeface="ＭＳ Ｐゴシック" charset="0"/>
                <a:cs typeface="ＭＳ Ｐゴシック" charset="0"/>
              </a:rPr>
              <a:t>Portfolio </a:t>
            </a:r>
            <a:r>
              <a:rPr lang="nl-NL" sz="3200" dirty="0" smtClean="0">
                <a:ea typeface="ＭＳ Ｐゴシック" charset="0"/>
                <a:cs typeface="ＭＳ Ｐゴシック" charset="0"/>
              </a:rPr>
              <a:t>LED</a:t>
            </a:r>
            <a:r>
              <a:rPr lang="pl-PL" sz="3200" dirty="0" smtClean="0">
                <a:ea typeface="ＭＳ Ｐゴシック" charset="0"/>
                <a:cs typeface="ＭＳ Ｐゴシック" charset="0"/>
              </a:rPr>
              <a:t> reflektor</a:t>
            </a:r>
            <a:r>
              <a:rPr lang="nl-NL" sz="3200" dirty="0" smtClean="0">
                <a:ea typeface="ＭＳ Ｐゴシック" charset="0"/>
                <a:cs typeface="ＭＳ Ｐゴシック" charset="0"/>
              </a:rPr>
              <a:t> MV</a:t>
            </a:r>
            <a:endParaRPr lang="nl-NL" sz="3200" dirty="0"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6829211"/>
              </p:ext>
            </p:extLst>
          </p:nvPr>
        </p:nvGraphicFramePr>
        <p:xfrm>
          <a:off x="177800" y="4195763"/>
          <a:ext cx="8302625" cy="1641476"/>
        </p:xfrm>
        <a:graphic>
          <a:graphicData uri="http://schemas.openxmlformats.org/drawingml/2006/table">
            <a:tbl>
              <a:tblPr/>
              <a:tblGrid>
                <a:gridCol w="2195572"/>
                <a:gridCol w="1101100"/>
                <a:gridCol w="1554618"/>
                <a:gridCol w="894851"/>
                <a:gridCol w="749109"/>
                <a:gridCol w="1022594"/>
                <a:gridCol w="784781"/>
              </a:tblGrid>
              <a:tr h="666132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107994" marR="5871" marT="6222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12nc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</a:t>
                      </a:r>
                      <a:endParaRPr kumimoji="0" lang="en-US" altLang="pl-PL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Beam</a:t>
                      </a: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pl-PL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angle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</a:t>
                      </a:r>
                      <a:endParaRPr kumimoji="0" lang="en-US" altLang="pl-PL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</a:tr>
              <a:tr h="487672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ILA LED 65W GU10 WW 36D ND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290011961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718696534205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5W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6D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7672"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PILA LED 65W GU10 CW 36D ND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290011962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718696534229</a:t>
                      </a: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5</a:t>
                      </a:r>
                      <a:r>
                        <a:rPr kumimoji="0" lang="pl-PL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</a:t>
                      </a:r>
                      <a:endParaRPr kumimoji="0" lang="en-US" altLang="pl-PL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00K</a:t>
                      </a: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6D</a:t>
                      </a: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9525" marR="9525" marT="9517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5870" name="Tekstvak 7"/>
          <p:cNvSpPr txBox="1">
            <a:spLocks noChangeArrowheads="1"/>
          </p:cNvSpPr>
          <p:nvPr/>
        </p:nvSpPr>
        <p:spPr bwMode="auto">
          <a:xfrm>
            <a:off x="2717800" y="1066800"/>
            <a:ext cx="447040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7800" indent="-1778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err="1" smtClean="0"/>
              <a:t>Directional</a:t>
            </a:r>
            <a:r>
              <a:rPr lang="pl-PL" altLang="zh-CN" dirty="0" smtClean="0"/>
              <a:t> </a:t>
            </a:r>
            <a:r>
              <a:rPr lang="pl-PL" altLang="zh-CN" dirty="0" err="1" smtClean="0"/>
              <a:t>light</a:t>
            </a:r>
            <a:endParaRPr lang="nl-NL" altLang="zh-CN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smtClean="0"/>
              <a:t>15 </a:t>
            </a:r>
            <a:r>
              <a:rPr lang="pl-PL" altLang="zh-CN" dirty="0" err="1" smtClean="0"/>
              <a:t>years</a:t>
            </a:r>
            <a:r>
              <a:rPr lang="pl-PL" altLang="zh-CN" dirty="0" smtClean="0"/>
              <a:t> </a:t>
            </a:r>
            <a:r>
              <a:rPr lang="pl-PL" altLang="zh-CN" dirty="0" err="1" smtClean="0"/>
              <a:t>lifetime</a:t>
            </a:r>
            <a:r>
              <a:rPr lang="nl-NL" altLang="zh-CN" dirty="0" smtClean="0"/>
              <a:t> </a:t>
            </a:r>
            <a:endParaRPr lang="nl-NL" altLang="zh-CN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err="1" smtClean="0"/>
              <a:t>Up</a:t>
            </a:r>
            <a:r>
              <a:rPr lang="pl-PL" altLang="zh-CN" dirty="0" smtClean="0"/>
              <a:t> to 85% </a:t>
            </a:r>
            <a:r>
              <a:rPr lang="pl-PL" altLang="zh-CN" dirty="0" err="1" smtClean="0"/>
              <a:t>energy</a:t>
            </a:r>
            <a:r>
              <a:rPr lang="pl-PL" altLang="zh-CN" dirty="0" smtClean="0"/>
              <a:t> </a:t>
            </a:r>
            <a:r>
              <a:rPr lang="pl-PL" altLang="zh-CN" dirty="0" err="1" smtClean="0"/>
              <a:t>saving</a:t>
            </a:r>
            <a:endParaRPr lang="nl-NL" altLang="zh-CN" dirty="0"/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zh-CN" dirty="0" smtClean="0"/>
              <a:t>Instant start</a:t>
            </a:r>
            <a:endParaRPr lang="nl-NL" altLang="zh-CN" dirty="0"/>
          </a:p>
        </p:txBody>
      </p:sp>
      <p:pic>
        <p:nvPicPr>
          <p:cNvPr id="35871" name="Picture 5__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25" y="1449388"/>
            <a:ext cx="2112963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7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4605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1813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946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27038" y="273050"/>
            <a:ext cx="8177212" cy="792163"/>
          </a:xfrm>
        </p:spPr>
        <p:txBody>
          <a:bodyPr/>
          <a:lstStyle/>
          <a:p>
            <a:pPr>
              <a:defRPr/>
            </a:pPr>
            <a:r>
              <a:rPr lang="pl-PL" sz="3200" dirty="0" err="1" smtClean="0">
                <a:ea typeface="MS PGothic" pitchFamily="34" charset="-128"/>
              </a:rPr>
              <a:t>Why</a:t>
            </a:r>
            <a:r>
              <a:rPr lang="pl-PL" sz="3200" dirty="0" smtClean="0">
                <a:ea typeface="MS PGothic" pitchFamily="34" charset="-128"/>
              </a:rPr>
              <a:t> PILA LED?</a:t>
            </a:r>
            <a:endParaRPr lang="pl-PL" sz="3200" dirty="0">
              <a:ea typeface="MS PGothic" pitchFamily="34" charset="-128"/>
            </a:endParaRPr>
          </a:p>
        </p:txBody>
      </p:sp>
      <p:sp>
        <p:nvSpPr>
          <p:cNvPr id="40965" name="TextBox 4"/>
          <p:cNvSpPr txBox="1">
            <a:spLocks noChangeArrowheads="1"/>
          </p:cNvSpPr>
          <p:nvPr/>
        </p:nvSpPr>
        <p:spPr bwMode="auto">
          <a:xfrm>
            <a:off x="427038" y="1104900"/>
            <a:ext cx="8475662" cy="4185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2857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pl-PL" altLang="en-US" b="1" i="1" dirty="0" smtClean="0">
                <a:solidFill>
                  <a:srgbClr val="FF0000"/>
                </a:solidFill>
              </a:rPr>
              <a:t>TRADITION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en-US" sz="1600" dirty="0" smtClean="0"/>
              <a:t>Brand with </a:t>
            </a:r>
            <a:r>
              <a:rPr lang="pl-PL" altLang="en-US" sz="1600" dirty="0" err="1" smtClean="0"/>
              <a:t>long</a:t>
            </a:r>
            <a:r>
              <a:rPr lang="pl-PL" altLang="en-US" sz="1600" dirty="0" smtClean="0"/>
              <a:t> </a:t>
            </a:r>
            <a:r>
              <a:rPr lang="pl-PL" altLang="en-US" sz="1600" dirty="0" err="1" smtClean="0"/>
              <a:t>tradition</a:t>
            </a:r>
            <a:r>
              <a:rPr lang="pl-PL" altLang="en-US" sz="1600" dirty="0" smtClean="0"/>
              <a:t> – </a:t>
            </a:r>
            <a:r>
              <a:rPr lang="pl-PL" altLang="en-US" sz="1600" dirty="0" err="1" smtClean="0"/>
              <a:t>over</a:t>
            </a:r>
            <a:r>
              <a:rPr lang="pl-PL" altLang="en-US" sz="1600" dirty="0" smtClean="0"/>
              <a:t> 30 </a:t>
            </a:r>
            <a:r>
              <a:rPr lang="pl-PL" altLang="en-US" sz="1600" dirty="0" err="1" smtClean="0"/>
              <a:t>years</a:t>
            </a:r>
            <a:r>
              <a:rPr lang="pl-PL" altLang="en-US" sz="1600" dirty="0" smtClean="0"/>
              <a:t> on the market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en-US" sz="1600" dirty="0" smtClean="0"/>
              <a:t>Brand </a:t>
            </a:r>
            <a:r>
              <a:rPr lang="pl-PL" altLang="en-US" sz="1600" dirty="0" err="1" smtClean="0"/>
              <a:t>recognized</a:t>
            </a:r>
            <a:r>
              <a:rPr lang="pl-PL" altLang="en-US" sz="1600" dirty="0" smtClean="0"/>
              <a:t> by </a:t>
            </a:r>
            <a:r>
              <a:rPr lang="pl-PL" altLang="en-US" sz="1600" dirty="0" err="1" smtClean="0"/>
              <a:t>customers</a:t>
            </a:r>
            <a:endParaRPr lang="pl-PL" altLang="en-US" sz="1600" dirty="0" smtClean="0"/>
          </a:p>
          <a:p>
            <a:pPr eaLnBrk="1" hangingPunct="1">
              <a:buFont typeface="Arial" pitchFamily="34" charset="0"/>
              <a:buChar char="•"/>
              <a:defRPr/>
            </a:pPr>
            <a:endParaRPr lang="pl-PL" altLang="en-US" dirty="0" smtClean="0">
              <a:solidFill>
                <a:srgbClr val="FF0000"/>
              </a:solidFill>
            </a:endParaRPr>
          </a:p>
          <a:p>
            <a:pPr eaLnBrk="1" hangingPunct="1">
              <a:defRPr/>
            </a:pPr>
            <a:r>
              <a:rPr lang="pl-PL" altLang="en-US" b="1" i="1" dirty="0" smtClean="0">
                <a:solidFill>
                  <a:srgbClr val="FF0000"/>
                </a:solidFill>
              </a:rPr>
              <a:t>BASIC PORTFOLIO</a:t>
            </a:r>
            <a:endParaRPr lang="pl-PL" altLang="en-US" sz="1600" b="1" i="1" dirty="0" smtClean="0"/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en-US" sz="1600" dirty="0" err="1" smtClean="0"/>
              <a:t>Good</a:t>
            </a:r>
            <a:r>
              <a:rPr lang="pl-PL" altLang="en-US" sz="1600" dirty="0" smtClean="0"/>
              <a:t> </a:t>
            </a:r>
            <a:r>
              <a:rPr lang="pl-PL" altLang="en-US" sz="1600" dirty="0" err="1" smtClean="0"/>
              <a:t>value</a:t>
            </a:r>
            <a:r>
              <a:rPr lang="pl-PL" altLang="en-US" sz="1600" dirty="0" smtClean="0"/>
              <a:t> for </a:t>
            </a:r>
            <a:r>
              <a:rPr lang="pl-PL" altLang="en-US" sz="1600" dirty="0" err="1" smtClean="0"/>
              <a:t>money</a:t>
            </a:r>
            <a:r>
              <a:rPr lang="pl-PL" altLang="en-US" sz="1600" dirty="0" smtClean="0"/>
              <a:t> 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en-US" sz="1600" dirty="0" smtClean="0"/>
              <a:t>LED </a:t>
            </a:r>
            <a:r>
              <a:rPr lang="pl-PL" altLang="en-US" sz="1600" dirty="0" err="1" smtClean="0"/>
              <a:t>replacement</a:t>
            </a:r>
            <a:r>
              <a:rPr lang="pl-PL" altLang="en-US" sz="1600" dirty="0" smtClean="0"/>
              <a:t> of the most popular </a:t>
            </a:r>
            <a:r>
              <a:rPr lang="pl-PL" altLang="en-US" sz="1600" dirty="0" err="1" smtClean="0"/>
              <a:t>traditional</a:t>
            </a:r>
            <a:r>
              <a:rPr lang="pl-PL" altLang="en-US" sz="1600" dirty="0" smtClean="0"/>
              <a:t> bulb </a:t>
            </a:r>
            <a:r>
              <a:rPr lang="pl-PL" altLang="en-US" sz="1600" dirty="0" err="1" smtClean="0"/>
              <a:t>types</a:t>
            </a:r>
            <a:r>
              <a:rPr lang="pl-PL" altLang="en-US" sz="1600" dirty="0" smtClean="0"/>
              <a:t> / </a:t>
            </a:r>
            <a:r>
              <a:rPr lang="pl-PL" altLang="en-US" sz="1600" dirty="0" err="1" smtClean="0"/>
              <a:t>shapes</a:t>
            </a:r>
            <a:endParaRPr lang="pl-PL" altLang="en-US" sz="1600" dirty="0" smtClean="0"/>
          </a:p>
          <a:p>
            <a:pPr eaLnBrk="1" hangingPunct="1">
              <a:defRPr/>
            </a:pPr>
            <a:endParaRPr lang="pl-PL" altLang="en-US" sz="1600" i="1" dirty="0" smtClean="0"/>
          </a:p>
          <a:p>
            <a:pPr eaLnBrk="1" hangingPunct="1">
              <a:defRPr/>
            </a:pPr>
            <a:r>
              <a:rPr lang="pl-PL" altLang="en-US" b="1" i="1" dirty="0" smtClean="0">
                <a:solidFill>
                  <a:srgbClr val="FF0000"/>
                </a:solidFill>
              </a:rPr>
              <a:t>NEW PACKAGING DESIGN</a:t>
            </a:r>
          </a:p>
          <a:p>
            <a:pPr lvl="1" eaLnBrk="1" hangingPunct="1">
              <a:buFont typeface="Arial" panose="020B0604020202020204" pitchFamily="34" charset="0"/>
              <a:buChar char="•"/>
              <a:defRPr/>
            </a:pPr>
            <a:r>
              <a:rPr lang="pl-PL" altLang="pl-PL" sz="1600" dirty="0" err="1" smtClean="0"/>
              <a:t>Clear</a:t>
            </a:r>
            <a:r>
              <a:rPr lang="pl-PL" altLang="pl-PL" sz="1600" dirty="0" smtClean="0"/>
              <a:t> </a:t>
            </a:r>
            <a:r>
              <a:rPr lang="pl-PL" altLang="pl-PL" sz="1600" dirty="0" err="1" smtClean="0"/>
              <a:t>communication</a:t>
            </a:r>
            <a:r>
              <a:rPr lang="pl-PL" altLang="pl-PL" sz="1600" dirty="0" smtClean="0"/>
              <a:t> on the </a:t>
            </a:r>
            <a:r>
              <a:rPr lang="pl-PL" altLang="pl-PL" sz="1600" dirty="0" err="1" smtClean="0"/>
              <a:t>packaging</a:t>
            </a:r>
            <a:r>
              <a:rPr lang="pl-PL" altLang="pl-PL" sz="1600" dirty="0" smtClean="0"/>
              <a:t>, </a:t>
            </a:r>
            <a:r>
              <a:rPr lang="pl-PL" altLang="pl-PL" sz="1600" dirty="0" err="1" smtClean="0"/>
              <a:t>easy</a:t>
            </a:r>
            <a:r>
              <a:rPr lang="pl-PL" altLang="pl-PL" sz="1600" dirty="0" smtClean="0"/>
              <a:t> to </a:t>
            </a:r>
            <a:r>
              <a:rPr lang="pl-PL" altLang="pl-PL" sz="1600" dirty="0" err="1" smtClean="0"/>
              <a:t>understand</a:t>
            </a:r>
            <a:r>
              <a:rPr lang="pl-PL" altLang="pl-PL" sz="1600" dirty="0" smtClean="0"/>
              <a:t>  </a:t>
            </a:r>
            <a:r>
              <a:rPr lang="pl-PL" altLang="pl-PL" sz="1600" dirty="0" err="1" smtClean="0"/>
              <a:t>light</a:t>
            </a:r>
            <a:r>
              <a:rPr lang="pl-PL" altLang="pl-PL" sz="1600" dirty="0" smtClean="0"/>
              <a:t> </a:t>
            </a:r>
            <a:r>
              <a:rPr lang="pl-PL" altLang="pl-PL" sz="1600" dirty="0" err="1" smtClean="0"/>
              <a:t>parameters</a:t>
            </a:r>
            <a:r>
              <a:rPr lang="pl-PL" altLang="pl-PL" sz="1600" dirty="0" smtClean="0"/>
              <a:t> on the </a:t>
            </a:r>
            <a:r>
              <a:rPr lang="pl-PL" altLang="pl-PL" sz="1600" dirty="0" err="1" smtClean="0"/>
              <a:t>box</a:t>
            </a:r>
            <a:endParaRPr lang="pl-PL" altLang="pl-PL" sz="1600" dirty="0" smtClean="0"/>
          </a:p>
          <a:p>
            <a:pPr lvl="1" eaLnBrk="1" hangingPunct="1">
              <a:buFont typeface="Arial" panose="020B0604020202020204" pitchFamily="34" charset="0"/>
              <a:buChar char="•"/>
              <a:defRPr/>
            </a:pPr>
            <a:endParaRPr lang="pl-PL" altLang="en-US" sz="1600" b="1" dirty="0" smtClean="0">
              <a:solidFill>
                <a:srgbClr val="FF0000"/>
              </a:solidFill>
            </a:endParaRPr>
          </a:p>
          <a:p>
            <a:pPr eaLnBrk="1" hangingPunct="1">
              <a:defRPr/>
            </a:pPr>
            <a:r>
              <a:rPr lang="pl-PL" altLang="pl-PL" b="1" i="1" dirty="0" smtClean="0">
                <a:solidFill>
                  <a:srgbClr val="FF0000"/>
                </a:solidFill>
              </a:rPr>
              <a:t>QUALITY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pl-PL" sz="1600" dirty="0" err="1" smtClean="0"/>
              <a:t>Long</a:t>
            </a:r>
            <a:r>
              <a:rPr lang="pl-PL" altLang="pl-PL" sz="1600" dirty="0" smtClean="0"/>
              <a:t> </a:t>
            </a:r>
            <a:r>
              <a:rPr lang="pl-PL" altLang="pl-PL" sz="1600" dirty="0" err="1" smtClean="0"/>
              <a:t>lifetime</a:t>
            </a:r>
            <a:r>
              <a:rPr lang="pl-PL" altLang="pl-PL" sz="1600" dirty="0" smtClean="0"/>
              <a:t>: 15 000 </a:t>
            </a:r>
            <a:r>
              <a:rPr lang="pl-PL" altLang="pl-PL" sz="1600" dirty="0" err="1" smtClean="0"/>
              <a:t>hours</a:t>
            </a:r>
            <a:r>
              <a:rPr lang="pl-PL" altLang="pl-PL" sz="1600" dirty="0" smtClean="0"/>
              <a:t> (15 </a:t>
            </a:r>
            <a:r>
              <a:rPr lang="pl-PL" altLang="pl-PL" sz="1600" dirty="0" err="1" smtClean="0"/>
              <a:t>years</a:t>
            </a:r>
            <a:r>
              <a:rPr lang="pl-PL" altLang="pl-PL" sz="1600" dirty="0" smtClean="0"/>
              <a:t>)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pl-PL" sz="1600" dirty="0" err="1" smtClean="0"/>
              <a:t>Up</a:t>
            </a:r>
            <a:r>
              <a:rPr lang="pl-PL" altLang="pl-PL" sz="1600" dirty="0" smtClean="0"/>
              <a:t> to 85% </a:t>
            </a:r>
            <a:r>
              <a:rPr lang="pl-PL" altLang="pl-PL" sz="1600" dirty="0" err="1" smtClean="0"/>
              <a:t>energy</a:t>
            </a:r>
            <a:r>
              <a:rPr lang="pl-PL" altLang="pl-PL" sz="1600" dirty="0" smtClean="0"/>
              <a:t> </a:t>
            </a:r>
            <a:r>
              <a:rPr lang="pl-PL" altLang="pl-PL" sz="1600" dirty="0" err="1" smtClean="0"/>
              <a:t>saving</a:t>
            </a:r>
            <a:endParaRPr lang="pl-PL" altLang="pl-PL" sz="1600" dirty="0" smtClean="0"/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pl-PL" altLang="en-US" sz="1600" dirty="0" err="1" smtClean="0"/>
              <a:t>Warm</a:t>
            </a:r>
            <a:r>
              <a:rPr lang="pl-PL" altLang="en-US" sz="1600" dirty="0" smtClean="0"/>
              <a:t> </a:t>
            </a:r>
            <a:r>
              <a:rPr lang="pl-PL" altLang="en-US" sz="1600" dirty="0" err="1" smtClean="0"/>
              <a:t>white</a:t>
            </a:r>
            <a:r>
              <a:rPr lang="pl-PL" altLang="en-US" sz="1600" dirty="0" smtClean="0"/>
              <a:t> </a:t>
            </a:r>
            <a:r>
              <a:rPr lang="pl-PL" altLang="en-US" sz="1600" dirty="0" err="1" smtClean="0"/>
              <a:t>light</a:t>
            </a:r>
            <a:endParaRPr lang="pl-PL" altLang="en-US" sz="1600" dirty="0" smtClean="0"/>
          </a:p>
          <a:p>
            <a:pPr eaLnBrk="1" hangingPunct="1">
              <a:buFont typeface="Arial" pitchFamily="34" charset="0"/>
              <a:buChar char="•"/>
              <a:defRPr/>
            </a:pPr>
            <a:endParaRPr lang="pl-PL" altLang="en-US" sz="1600" dirty="0" smtClean="0"/>
          </a:p>
        </p:txBody>
      </p:sp>
      <p:pic>
        <p:nvPicPr>
          <p:cNvPr id="3584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20955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0"/>
          <a:stretch>
            <a:fillRect/>
          </a:stretch>
        </p:blipFill>
        <p:spPr bwMode="auto">
          <a:xfrm>
            <a:off x="5652120" y="3717032"/>
            <a:ext cx="2966802" cy="2854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5396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27038" y="273050"/>
            <a:ext cx="8177212" cy="792163"/>
          </a:xfrm>
        </p:spPr>
        <p:txBody>
          <a:bodyPr/>
          <a:lstStyle/>
          <a:p>
            <a:pPr>
              <a:defRPr/>
            </a:pPr>
            <a:r>
              <a:rPr lang="pl-PL" sz="3200" dirty="0">
                <a:ea typeface="MS PGothic" pitchFamily="34" charset="-128"/>
              </a:rPr>
              <a:t>PILA LED- </a:t>
            </a:r>
            <a:r>
              <a:rPr lang="pl-PL" sz="3200" dirty="0" err="1" smtClean="0">
                <a:ea typeface="MS PGothic" pitchFamily="34" charset="-128"/>
              </a:rPr>
              <a:t>benefits</a:t>
            </a:r>
            <a:endParaRPr lang="en-US" sz="3200" dirty="0">
              <a:ea typeface="MS PGothic" pitchFamily="34" charset="-128"/>
            </a:endParaRPr>
          </a:p>
        </p:txBody>
      </p:sp>
      <p:sp>
        <p:nvSpPr>
          <p:cNvPr id="36867" name="TextBox 4"/>
          <p:cNvSpPr txBox="1">
            <a:spLocks noChangeArrowheads="1"/>
          </p:cNvSpPr>
          <p:nvPr/>
        </p:nvSpPr>
        <p:spPr bwMode="auto">
          <a:xfrm>
            <a:off x="4327525" y="1293813"/>
            <a:ext cx="4699000" cy="4739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r>
              <a:rPr lang="pl-PL" altLang="pl-PL" b="1" dirty="0" smtClean="0"/>
              <a:t>XXI </a:t>
            </a:r>
            <a:r>
              <a:rPr lang="pl-PL" altLang="pl-PL" b="1" dirty="0" err="1" smtClean="0"/>
              <a:t>century</a:t>
            </a:r>
            <a:r>
              <a:rPr lang="pl-PL" altLang="pl-PL" b="1" dirty="0" smtClean="0"/>
              <a:t> </a:t>
            </a:r>
            <a:r>
              <a:rPr lang="pl-PL" altLang="pl-PL" b="1" dirty="0" err="1" smtClean="0"/>
              <a:t>bulbs</a:t>
            </a:r>
            <a:endParaRPr lang="pl-PL" altLang="pl-PL" b="1" dirty="0"/>
          </a:p>
          <a:p>
            <a:pPr>
              <a:buFont typeface="Arial" charset="0"/>
              <a:buChar char="•"/>
            </a:pPr>
            <a:r>
              <a:rPr lang="pl-PL" altLang="pl-PL" i="1" dirty="0"/>
              <a:t> </a:t>
            </a:r>
            <a:r>
              <a:rPr lang="pl-PL" altLang="pl-PL" i="1" dirty="0" smtClean="0"/>
              <a:t>LED </a:t>
            </a:r>
            <a:r>
              <a:rPr lang="pl-PL" altLang="pl-PL" i="1" dirty="0" err="1" smtClean="0"/>
              <a:t>technology</a:t>
            </a:r>
            <a:r>
              <a:rPr lang="pl-PL" altLang="pl-PL" i="1" dirty="0" smtClean="0"/>
              <a:t> in </a:t>
            </a:r>
            <a:r>
              <a:rPr lang="pl-PL" altLang="pl-PL" i="1" dirty="0" err="1" smtClean="0"/>
              <a:t>familiar</a:t>
            </a:r>
            <a:r>
              <a:rPr lang="pl-PL" altLang="pl-PL" i="1" dirty="0" smtClean="0"/>
              <a:t> </a:t>
            </a:r>
            <a:r>
              <a:rPr lang="pl-PL" altLang="pl-PL" i="1" dirty="0" err="1" smtClean="0"/>
              <a:t>shape</a:t>
            </a:r>
            <a:r>
              <a:rPr lang="pl-PL" altLang="pl-PL" i="1" dirty="0" smtClean="0"/>
              <a:t>: </a:t>
            </a:r>
            <a:r>
              <a:rPr lang="pl-PL" altLang="pl-PL" i="1" dirty="0" err="1" smtClean="0"/>
              <a:t>replacements</a:t>
            </a:r>
            <a:r>
              <a:rPr lang="pl-PL" altLang="pl-PL" i="1" dirty="0" smtClean="0"/>
              <a:t> of the most popular </a:t>
            </a:r>
            <a:r>
              <a:rPr lang="pl-PL" altLang="pl-PL" i="1" dirty="0" err="1" smtClean="0"/>
              <a:t>traditional</a:t>
            </a:r>
            <a:r>
              <a:rPr lang="pl-PL" altLang="pl-PL" i="1" dirty="0" smtClean="0"/>
              <a:t> </a:t>
            </a:r>
            <a:r>
              <a:rPr lang="pl-PL" altLang="pl-PL" i="1" dirty="0" err="1" smtClean="0"/>
              <a:t>shapes</a:t>
            </a:r>
            <a:r>
              <a:rPr lang="pl-PL" altLang="pl-PL" i="1" dirty="0" smtClean="0"/>
              <a:t> </a:t>
            </a:r>
            <a:r>
              <a:rPr lang="pl-PL" altLang="pl-PL" i="1" dirty="0" err="1" smtClean="0"/>
              <a:t>available</a:t>
            </a:r>
            <a:r>
              <a:rPr lang="pl-PL" altLang="pl-PL" i="1" dirty="0"/>
              <a:t>: </a:t>
            </a:r>
            <a:r>
              <a:rPr lang="pl-PL" altLang="pl-PL" i="1" dirty="0" err="1" smtClean="0"/>
              <a:t>bulbs</a:t>
            </a:r>
            <a:r>
              <a:rPr lang="pl-PL" altLang="pl-PL" i="1" dirty="0" smtClean="0"/>
              <a:t>, </a:t>
            </a:r>
            <a:r>
              <a:rPr lang="pl-PL" altLang="pl-PL" i="1" dirty="0" err="1" smtClean="0"/>
              <a:t>candles</a:t>
            </a:r>
            <a:r>
              <a:rPr lang="pl-PL" altLang="pl-PL" i="1" dirty="0" smtClean="0"/>
              <a:t>, </a:t>
            </a:r>
            <a:r>
              <a:rPr lang="pl-PL" altLang="pl-PL" i="1" dirty="0" err="1" smtClean="0"/>
              <a:t>lustres</a:t>
            </a:r>
            <a:r>
              <a:rPr lang="pl-PL" altLang="pl-PL" i="1" dirty="0" smtClean="0"/>
              <a:t>, </a:t>
            </a:r>
            <a:r>
              <a:rPr lang="pl-PL" altLang="pl-PL" i="1" dirty="0" err="1" smtClean="0"/>
              <a:t>spots</a:t>
            </a:r>
            <a:endParaRPr lang="pl-PL" altLang="pl-PL" i="1" dirty="0"/>
          </a:p>
          <a:p>
            <a:pPr>
              <a:buFont typeface="Arial" charset="0"/>
              <a:buChar char="•"/>
            </a:pPr>
            <a:endParaRPr lang="pl-PL" altLang="pl-PL" i="1" dirty="0"/>
          </a:p>
          <a:p>
            <a:r>
              <a:rPr lang="pl-PL" altLang="pl-PL" b="1" i="1" dirty="0" err="1" smtClean="0"/>
              <a:t>Up</a:t>
            </a:r>
            <a:r>
              <a:rPr lang="pl-PL" altLang="pl-PL" b="1" i="1" dirty="0" smtClean="0"/>
              <a:t> to 85</a:t>
            </a:r>
            <a:r>
              <a:rPr lang="pl-PL" altLang="pl-PL" b="1" i="1" dirty="0"/>
              <a:t>% </a:t>
            </a:r>
            <a:r>
              <a:rPr lang="pl-PL" altLang="pl-PL" b="1" i="1" dirty="0" err="1" smtClean="0"/>
              <a:t>energy</a:t>
            </a:r>
            <a:r>
              <a:rPr lang="pl-PL" altLang="pl-PL" b="1" i="1" dirty="0" smtClean="0"/>
              <a:t> </a:t>
            </a:r>
            <a:r>
              <a:rPr lang="pl-PL" altLang="pl-PL" b="1" i="1" dirty="0" err="1" smtClean="0"/>
              <a:t>saving</a:t>
            </a:r>
            <a:endParaRPr lang="pl-PL" altLang="pl-PL" b="1" i="1" dirty="0"/>
          </a:p>
          <a:p>
            <a:pPr>
              <a:buFont typeface="Arial" charset="0"/>
              <a:buChar char="•"/>
            </a:pPr>
            <a:endParaRPr lang="pl-PL" altLang="pl-PL" b="1" i="1" dirty="0"/>
          </a:p>
          <a:p>
            <a:r>
              <a:rPr lang="pl-PL" altLang="pl-PL" b="1" i="1" dirty="0" smtClean="0"/>
              <a:t>Investment </a:t>
            </a:r>
            <a:r>
              <a:rPr lang="pl-PL" altLang="pl-PL" b="1" i="1" dirty="0" err="1" smtClean="0"/>
              <a:t>pays</a:t>
            </a:r>
            <a:r>
              <a:rPr lang="pl-PL" altLang="pl-PL" b="1" i="1" dirty="0" smtClean="0"/>
              <a:t> off </a:t>
            </a:r>
            <a:r>
              <a:rPr lang="pl-PL" altLang="pl-PL" b="1" i="1" dirty="0" err="1" smtClean="0"/>
              <a:t>already</a:t>
            </a:r>
            <a:r>
              <a:rPr lang="pl-PL" altLang="pl-PL" b="1" i="1" dirty="0" smtClean="0"/>
              <a:t> </a:t>
            </a:r>
            <a:r>
              <a:rPr lang="pl-PL" altLang="pl-PL" b="1" i="1" dirty="0" err="1" smtClean="0"/>
              <a:t>within</a:t>
            </a:r>
            <a:r>
              <a:rPr lang="pl-PL" altLang="pl-PL" b="1" i="1" dirty="0" smtClean="0"/>
              <a:t> </a:t>
            </a:r>
            <a:r>
              <a:rPr lang="pl-PL" altLang="pl-PL" b="1" i="1" dirty="0"/>
              <a:t>8 </a:t>
            </a:r>
            <a:r>
              <a:rPr lang="pl-PL" altLang="pl-PL" b="1" i="1" dirty="0" err="1" smtClean="0"/>
              <a:t>months</a:t>
            </a:r>
            <a:r>
              <a:rPr lang="pl-PL" altLang="pl-PL" b="1" i="1" dirty="0" smtClean="0"/>
              <a:t>*</a:t>
            </a:r>
            <a:endParaRPr lang="pl-PL" altLang="pl-PL" b="1" i="1" dirty="0"/>
          </a:p>
          <a:p>
            <a:pPr>
              <a:buFont typeface="Arial" charset="0"/>
              <a:buChar char="•"/>
            </a:pPr>
            <a:r>
              <a:rPr lang="pl-PL" altLang="pl-PL" i="1" dirty="0"/>
              <a:t> </a:t>
            </a:r>
            <a:r>
              <a:rPr lang="pl-PL" altLang="pl-PL" i="1" dirty="0" smtClean="0"/>
              <a:t>15 </a:t>
            </a:r>
            <a:r>
              <a:rPr lang="pl-PL" altLang="pl-PL" i="1" dirty="0" err="1" smtClean="0"/>
              <a:t>years</a:t>
            </a:r>
            <a:r>
              <a:rPr lang="pl-PL" altLang="pl-PL" i="1" dirty="0" smtClean="0"/>
              <a:t> of </a:t>
            </a:r>
            <a:r>
              <a:rPr lang="pl-PL" altLang="pl-PL" i="1" dirty="0" err="1" smtClean="0"/>
              <a:t>lifetime</a:t>
            </a:r>
            <a:endParaRPr lang="pl-PL" altLang="pl-PL" i="1" dirty="0"/>
          </a:p>
          <a:p>
            <a:pPr>
              <a:buFont typeface="Arial" charset="0"/>
              <a:buChar char="•"/>
            </a:pPr>
            <a:r>
              <a:rPr lang="pl-PL" altLang="pl-PL" dirty="0"/>
              <a:t> </a:t>
            </a:r>
            <a:r>
              <a:rPr lang="pl-PL" altLang="pl-PL" dirty="0" err="1" smtClean="0"/>
              <a:t>healthy</a:t>
            </a:r>
            <a:r>
              <a:rPr lang="pl-PL" altLang="pl-PL" dirty="0" smtClean="0"/>
              <a:t> </a:t>
            </a:r>
            <a:r>
              <a:rPr lang="pl-PL" altLang="pl-PL" dirty="0" err="1" smtClean="0"/>
              <a:t>light</a:t>
            </a:r>
            <a:r>
              <a:rPr lang="pl-PL" altLang="pl-PL" dirty="0" smtClean="0"/>
              <a:t> </a:t>
            </a:r>
            <a:endParaRPr lang="pl-PL" altLang="pl-PL" dirty="0"/>
          </a:p>
          <a:p>
            <a:pPr>
              <a:buFont typeface="Arial" charset="0"/>
              <a:buChar char="•"/>
            </a:pPr>
            <a:r>
              <a:rPr lang="pl-PL" altLang="pl-PL" dirty="0"/>
              <a:t> 100% </a:t>
            </a:r>
            <a:r>
              <a:rPr lang="pl-PL" altLang="pl-PL" dirty="0" err="1" smtClean="0"/>
              <a:t>compliant</a:t>
            </a:r>
            <a:r>
              <a:rPr lang="pl-PL" altLang="pl-PL" dirty="0" smtClean="0"/>
              <a:t> with EU </a:t>
            </a:r>
            <a:r>
              <a:rPr lang="pl-PL" altLang="pl-PL" dirty="0" err="1" smtClean="0"/>
              <a:t>regulations</a:t>
            </a:r>
            <a:r>
              <a:rPr lang="pl-PL" altLang="pl-PL" dirty="0" smtClean="0"/>
              <a:t> </a:t>
            </a:r>
            <a:r>
              <a:rPr lang="pl-PL" altLang="pl-PL" dirty="0"/>
              <a:t>(</a:t>
            </a:r>
            <a:r>
              <a:rPr lang="en-US" altLang="pl-PL" dirty="0"/>
              <a:t>DIM2</a:t>
            </a:r>
            <a:r>
              <a:rPr lang="pl-PL" altLang="pl-PL" dirty="0"/>
              <a:t>)</a:t>
            </a:r>
          </a:p>
          <a:p>
            <a:pPr>
              <a:buFont typeface="Arial" charset="0"/>
              <a:buChar char="•"/>
            </a:pPr>
            <a:r>
              <a:rPr lang="pl-PL" altLang="pl-PL" dirty="0"/>
              <a:t> </a:t>
            </a:r>
            <a:r>
              <a:rPr lang="pl-PL" altLang="pl-PL" dirty="0" err="1" smtClean="0"/>
              <a:t>warm</a:t>
            </a:r>
            <a:r>
              <a:rPr lang="pl-PL" altLang="pl-PL" dirty="0" smtClean="0"/>
              <a:t> </a:t>
            </a:r>
            <a:r>
              <a:rPr lang="pl-PL" altLang="pl-PL" dirty="0" err="1" smtClean="0"/>
              <a:t>white</a:t>
            </a:r>
            <a:r>
              <a:rPr lang="pl-PL" altLang="pl-PL" dirty="0" smtClean="0"/>
              <a:t> </a:t>
            </a:r>
            <a:r>
              <a:rPr lang="pl-PL" altLang="pl-PL" dirty="0" err="1" smtClean="0"/>
              <a:t>light</a:t>
            </a:r>
            <a:r>
              <a:rPr lang="en-US" altLang="pl-PL" dirty="0" smtClean="0"/>
              <a:t> </a:t>
            </a:r>
            <a:endParaRPr lang="en-US" altLang="pl-PL" b="1" dirty="0"/>
          </a:p>
          <a:p>
            <a:pPr>
              <a:buFont typeface="Arial" charset="0"/>
              <a:buChar char="•"/>
            </a:pPr>
            <a:r>
              <a:rPr lang="pl-PL" altLang="pl-PL" dirty="0"/>
              <a:t> </a:t>
            </a:r>
            <a:r>
              <a:rPr lang="pl-PL" altLang="pl-PL" dirty="0" err="1" smtClean="0"/>
              <a:t>excellent</a:t>
            </a:r>
            <a:r>
              <a:rPr lang="pl-PL" altLang="pl-PL" dirty="0" smtClean="0"/>
              <a:t> for </a:t>
            </a:r>
            <a:r>
              <a:rPr lang="pl-PL" altLang="pl-PL" dirty="0" err="1" smtClean="0"/>
              <a:t>general</a:t>
            </a:r>
            <a:r>
              <a:rPr lang="pl-PL" altLang="pl-PL" dirty="0" smtClean="0"/>
              <a:t> lighting </a:t>
            </a:r>
            <a:r>
              <a:rPr lang="pl-PL" altLang="pl-PL" dirty="0" err="1" smtClean="0"/>
              <a:t>purposes</a:t>
            </a:r>
            <a:endParaRPr lang="pl-PL" altLang="pl-PL" dirty="0"/>
          </a:p>
          <a:p>
            <a:pPr>
              <a:buFont typeface="Arial" charset="0"/>
              <a:buChar char="•"/>
            </a:pPr>
            <a:r>
              <a:rPr lang="pl-PL" altLang="pl-PL" dirty="0">
                <a:solidFill>
                  <a:srgbClr val="000000"/>
                </a:solidFill>
              </a:rPr>
              <a:t> </a:t>
            </a:r>
            <a:r>
              <a:rPr lang="pl-PL" altLang="pl-PL" dirty="0" smtClean="0">
                <a:solidFill>
                  <a:srgbClr val="000000"/>
                </a:solidFill>
              </a:rPr>
              <a:t>no </a:t>
            </a:r>
            <a:r>
              <a:rPr lang="pl-PL" altLang="pl-PL" dirty="0" err="1" smtClean="0">
                <a:solidFill>
                  <a:srgbClr val="000000"/>
                </a:solidFill>
              </a:rPr>
              <a:t>heat</a:t>
            </a:r>
            <a:r>
              <a:rPr lang="pl-PL" altLang="pl-PL" dirty="0" smtClean="0">
                <a:solidFill>
                  <a:srgbClr val="000000"/>
                </a:solidFill>
              </a:rPr>
              <a:t> </a:t>
            </a:r>
            <a:r>
              <a:rPr lang="pl-PL" altLang="pl-PL" dirty="0" err="1" smtClean="0">
                <a:solidFill>
                  <a:srgbClr val="000000"/>
                </a:solidFill>
              </a:rPr>
              <a:t>generated</a:t>
            </a:r>
            <a:endParaRPr lang="pl-PL" altLang="pl-PL" dirty="0">
              <a:solidFill>
                <a:srgbClr val="000000"/>
              </a:solidFill>
            </a:endParaRPr>
          </a:p>
          <a:p>
            <a:pPr>
              <a:buFont typeface="Arial" charset="0"/>
              <a:buChar char="•"/>
            </a:pPr>
            <a:r>
              <a:rPr lang="pl-PL" altLang="pl-PL" dirty="0">
                <a:solidFill>
                  <a:srgbClr val="000000"/>
                </a:solidFill>
              </a:rPr>
              <a:t> </a:t>
            </a:r>
            <a:r>
              <a:rPr lang="pl-PL" altLang="pl-PL" dirty="0" smtClean="0">
                <a:solidFill>
                  <a:srgbClr val="000000"/>
                </a:solidFill>
              </a:rPr>
              <a:t>modern design</a:t>
            </a:r>
          </a:p>
          <a:p>
            <a:pPr>
              <a:buFont typeface="Arial" charset="0"/>
              <a:buChar char="•"/>
            </a:pPr>
            <a:endParaRPr lang="pl-PL" altLang="pl-PL" dirty="0" smtClean="0"/>
          </a:p>
          <a:p>
            <a:r>
              <a:rPr lang="pl-PL" altLang="pl-PL" sz="1400" i="1" dirty="0" smtClean="0"/>
              <a:t>* </a:t>
            </a:r>
            <a:r>
              <a:rPr lang="pl-PL" altLang="pl-PL" sz="1400" i="1" dirty="0" err="1" smtClean="0"/>
              <a:t>Average</a:t>
            </a:r>
            <a:r>
              <a:rPr lang="pl-PL" altLang="pl-PL" sz="1400" i="1" dirty="0" smtClean="0"/>
              <a:t> </a:t>
            </a:r>
            <a:r>
              <a:rPr lang="pl-PL" altLang="pl-PL" sz="1400" i="1" dirty="0" err="1" smtClean="0"/>
              <a:t>working</a:t>
            </a:r>
            <a:r>
              <a:rPr lang="pl-PL" altLang="pl-PL" sz="1400" i="1" dirty="0" smtClean="0"/>
              <a:t> </a:t>
            </a:r>
            <a:r>
              <a:rPr lang="pl-PL" altLang="pl-PL" sz="1400" i="1" dirty="0" err="1" smtClean="0"/>
              <a:t>time</a:t>
            </a:r>
            <a:r>
              <a:rPr lang="pl-PL" altLang="pl-PL" sz="1400" i="1" dirty="0" smtClean="0"/>
              <a:t>: 4 </a:t>
            </a:r>
            <a:r>
              <a:rPr lang="pl-PL" altLang="pl-PL" sz="1400" i="1" dirty="0" err="1" smtClean="0"/>
              <a:t>hrs</a:t>
            </a:r>
            <a:r>
              <a:rPr lang="pl-PL" altLang="pl-PL" sz="1400" i="1" dirty="0" smtClean="0"/>
              <a:t>/</a:t>
            </a:r>
            <a:r>
              <a:rPr lang="pl-PL" altLang="pl-PL" sz="1400" i="1" dirty="0" err="1" smtClean="0"/>
              <a:t>day</a:t>
            </a:r>
            <a:endParaRPr lang="en-US" altLang="pl-PL" sz="1400" i="1" dirty="0"/>
          </a:p>
        </p:txBody>
      </p:sp>
      <p:pic>
        <p:nvPicPr>
          <p:cNvPr id="36868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438" y="29210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6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0"/>
          <a:stretch>
            <a:fillRect/>
          </a:stretch>
        </p:blipFill>
        <p:spPr bwMode="auto">
          <a:xfrm>
            <a:off x="250825" y="1598613"/>
            <a:ext cx="3565525" cy="3430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8698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ext Placeholder 1"/>
          <p:cNvSpPr>
            <a:spLocks noGrp="1"/>
          </p:cNvSpPr>
          <p:nvPr>
            <p:ph type="body" sz="quarter" idx="10"/>
          </p:nvPr>
        </p:nvSpPr>
        <p:spPr bwMode="auto">
          <a:xfrm>
            <a:off x="381000" y="252413"/>
            <a:ext cx="8716963" cy="79057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r>
              <a:rPr lang="pl-PL" altLang="pl-PL" sz="3200" dirty="0">
                <a:ea typeface="MS PGothic" pitchFamily="34" charset="-128"/>
              </a:rPr>
              <a:t>PILA LED </a:t>
            </a:r>
            <a:r>
              <a:rPr lang="pl-PL" altLang="pl-PL" sz="3200" dirty="0" err="1" smtClean="0">
                <a:ea typeface="MS PGothic" pitchFamily="34" charset="-128"/>
              </a:rPr>
              <a:t>available</a:t>
            </a:r>
            <a:r>
              <a:rPr lang="pl-PL" altLang="pl-PL" sz="3200" dirty="0" smtClean="0">
                <a:ea typeface="MS PGothic" pitchFamily="34" charset="-128"/>
              </a:rPr>
              <a:t> portfolio</a:t>
            </a:r>
            <a:endParaRPr lang="en-US" altLang="pl-PL" sz="3200" dirty="0">
              <a:ea typeface="MS PGothic" pitchFamily="34" charset="-128"/>
            </a:endParaRPr>
          </a:p>
        </p:txBody>
      </p:sp>
      <p:pic>
        <p:nvPicPr>
          <p:cNvPr id="37891" name="Picture 2" descr="E55 60W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8" y="2295525"/>
            <a:ext cx="544512" cy="944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1908175" y="2336800"/>
            <a:ext cx="1863725" cy="731838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051050" y="3573463"/>
            <a:ext cx="1873250" cy="0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Line 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920875" y="4157663"/>
            <a:ext cx="919163" cy="1081087"/>
          </a:xfrm>
          <a:prstGeom prst="line">
            <a:avLst/>
          </a:prstGeom>
          <a:noFill/>
          <a:ln w="28575">
            <a:solidFill>
              <a:srgbClr val="CC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37895" name="Picture 9" descr="LPPR1_HTWIST_AL_GU10_MK2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0938" y="3663950"/>
            <a:ext cx="503237" cy="56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6" name="Picture 10" descr="dichroic.tif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88" y="3667125"/>
            <a:ext cx="582612" cy="53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7" name="Picture 13" descr="GLS Standard Mat E27.tif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0" y="2235200"/>
            <a:ext cx="647700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8" name="Picture 3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086" y="1263650"/>
            <a:ext cx="588962" cy="1103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9" name="Picture 2_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913" y="3021013"/>
            <a:ext cx="508000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kstvak 34"/>
          <p:cNvSpPr txBox="1"/>
          <p:nvPr/>
        </p:nvSpPr>
        <p:spPr>
          <a:xfrm>
            <a:off x="3924300" y="2541588"/>
            <a:ext cx="1468438" cy="1539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 eaLnBrk="1" hangingPunct="1">
              <a:defRPr/>
            </a:pPr>
            <a:r>
              <a:rPr lang="pl-PL" sz="1000" dirty="0" smtClean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40W</a:t>
            </a:r>
            <a:endParaRPr lang="pl-PL" sz="1000" dirty="0">
              <a:solidFill>
                <a:schemeClr val="accent6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sp>
        <p:nvSpPr>
          <p:cNvPr id="37901" name="Tekstvak 37"/>
          <p:cNvSpPr txBox="1">
            <a:spLocks noChangeArrowheads="1"/>
          </p:cNvSpPr>
          <p:nvPr/>
        </p:nvSpPr>
        <p:spPr bwMode="auto">
          <a:xfrm>
            <a:off x="4076700" y="4581525"/>
            <a:ext cx="9906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l-NL" altLang="en-US" sz="1000" dirty="0">
                <a:solidFill>
                  <a:srgbClr val="F37B18"/>
                </a:solidFill>
              </a:rPr>
              <a:t>25W </a:t>
            </a:r>
          </a:p>
        </p:txBody>
      </p:sp>
      <p:sp>
        <p:nvSpPr>
          <p:cNvPr id="37902" name="Tekstvak 38"/>
          <p:cNvSpPr txBox="1">
            <a:spLocks noChangeArrowheads="1"/>
          </p:cNvSpPr>
          <p:nvPr/>
        </p:nvSpPr>
        <p:spPr bwMode="auto">
          <a:xfrm>
            <a:off x="7482656" y="4575175"/>
            <a:ext cx="11938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l-NL" altLang="en-US" sz="1000" dirty="0">
                <a:solidFill>
                  <a:srgbClr val="F37B18"/>
                </a:solidFill>
              </a:rPr>
              <a:t>40W </a:t>
            </a:r>
          </a:p>
        </p:txBody>
      </p:sp>
      <p:pic>
        <p:nvPicPr>
          <p:cNvPr id="37903" name="Picture 5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9344" y="3190875"/>
            <a:ext cx="598487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904" name="Tekstvak 41"/>
          <p:cNvSpPr txBox="1">
            <a:spLocks noChangeArrowheads="1"/>
          </p:cNvSpPr>
          <p:nvPr/>
        </p:nvSpPr>
        <p:spPr bwMode="auto">
          <a:xfrm>
            <a:off x="2857500" y="6049963"/>
            <a:ext cx="125571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l-NL" altLang="en-US" sz="1000" dirty="0">
                <a:solidFill>
                  <a:srgbClr val="F37B18"/>
                </a:solidFill>
              </a:rPr>
              <a:t>35W </a:t>
            </a:r>
            <a:r>
              <a:rPr lang="nl-NL" altLang="en-US" sz="1000" dirty="0" smtClean="0">
                <a:solidFill>
                  <a:srgbClr val="F37B18"/>
                </a:solidFill>
              </a:rPr>
              <a:t>WW </a:t>
            </a:r>
            <a:r>
              <a:rPr lang="nl-NL" altLang="en-US" sz="1000" dirty="0">
                <a:solidFill>
                  <a:srgbClr val="F37B18"/>
                </a:solidFill>
              </a:rPr>
              <a:t>36D </a:t>
            </a:r>
          </a:p>
        </p:txBody>
      </p:sp>
      <p:sp>
        <p:nvSpPr>
          <p:cNvPr id="37905" name="Tekstvak 42"/>
          <p:cNvSpPr txBox="1">
            <a:spLocks noChangeArrowheads="1"/>
          </p:cNvSpPr>
          <p:nvPr/>
        </p:nvSpPr>
        <p:spPr bwMode="auto">
          <a:xfrm>
            <a:off x="4211960" y="6042025"/>
            <a:ext cx="109187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l-NL" altLang="en-US" sz="1000" dirty="0">
                <a:solidFill>
                  <a:srgbClr val="F37B18"/>
                </a:solidFill>
              </a:rPr>
              <a:t>50W </a:t>
            </a:r>
            <a:r>
              <a:rPr lang="nl-NL" altLang="en-US" sz="1000" dirty="0" smtClean="0">
                <a:solidFill>
                  <a:srgbClr val="F37B18"/>
                </a:solidFill>
              </a:rPr>
              <a:t>WW 36D</a:t>
            </a:r>
            <a:endParaRPr lang="pl-PL" altLang="en-US" sz="1000" dirty="0" smtClean="0">
              <a:solidFill>
                <a:srgbClr val="F37B18"/>
              </a:solidFill>
            </a:endParaRPr>
          </a:p>
          <a:p>
            <a:pPr algn="ctr" eaLnBrk="1" hangingPunct="1"/>
            <a:r>
              <a:rPr lang="pl-PL" altLang="en-US" sz="1000" dirty="0" smtClean="0">
                <a:solidFill>
                  <a:srgbClr val="F37B18"/>
                </a:solidFill>
              </a:rPr>
              <a:t>50W CW 60D</a:t>
            </a:r>
            <a:endParaRPr lang="nl-NL" altLang="en-US" sz="1000" dirty="0">
              <a:solidFill>
                <a:srgbClr val="F37B18"/>
              </a:solidFill>
            </a:endParaRPr>
          </a:p>
        </p:txBody>
      </p:sp>
      <p:sp>
        <p:nvSpPr>
          <p:cNvPr id="37906" name="Tekstvak 43"/>
          <p:cNvSpPr txBox="1">
            <a:spLocks noChangeArrowheads="1"/>
          </p:cNvSpPr>
          <p:nvPr/>
        </p:nvSpPr>
        <p:spPr bwMode="auto">
          <a:xfrm>
            <a:off x="6948264" y="6073775"/>
            <a:ext cx="1185863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nl-NL" altLang="en-US" sz="1000" dirty="0">
                <a:solidFill>
                  <a:srgbClr val="F37B18"/>
                </a:solidFill>
              </a:rPr>
              <a:t>35W </a:t>
            </a:r>
            <a:r>
              <a:rPr lang="nl-NL" altLang="en-US" sz="1000" dirty="0" smtClean="0">
                <a:solidFill>
                  <a:srgbClr val="F37B18"/>
                </a:solidFill>
              </a:rPr>
              <a:t>WW </a:t>
            </a:r>
            <a:r>
              <a:rPr lang="nl-NL" altLang="en-US" sz="1000" dirty="0">
                <a:solidFill>
                  <a:srgbClr val="F37B18"/>
                </a:solidFill>
              </a:rPr>
              <a:t>12V 36D </a:t>
            </a:r>
          </a:p>
        </p:txBody>
      </p:sp>
      <p:pic>
        <p:nvPicPr>
          <p:cNvPr id="37907" name="Picture 2__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2664" y="5300663"/>
            <a:ext cx="6572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8" name="Picture 3_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338" y="5300663"/>
            <a:ext cx="574675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09" name="Picture 5_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513" y="5276850"/>
            <a:ext cx="544512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10" name="Picture 8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9225" y="45720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912" name="Picture 2____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1263650"/>
            <a:ext cx="56832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kstvak 34____"/>
          <p:cNvSpPr txBox="1"/>
          <p:nvPr/>
        </p:nvSpPr>
        <p:spPr>
          <a:xfrm>
            <a:off x="5508625" y="2541588"/>
            <a:ext cx="1374775" cy="1539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pl-PL" sz="1000" dirty="0" smtClean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       60</a:t>
            </a:r>
            <a:r>
              <a:rPr lang="en-US" sz="1000" dirty="0" smtClean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W</a:t>
            </a:r>
            <a:endParaRPr lang="pl-PL" sz="1000" dirty="0">
              <a:solidFill>
                <a:schemeClr val="accent6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37914" name="Picture 2_____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1263650"/>
            <a:ext cx="56832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Tekstvak 34_____"/>
          <p:cNvSpPr txBox="1"/>
          <p:nvPr/>
        </p:nvSpPr>
        <p:spPr>
          <a:xfrm>
            <a:off x="6983413" y="2541588"/>
            <a:ext cx="1474787" cy="1538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pl-PL" sz="1000" dirty="0" smtClean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       75W</a:t>
            </a:r>
            <a:endParaRPr lang="pl-PL" sz="1000" dirty="0">
              <a:solidFill>
                <a:schemeClr val="accent6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37916" name="Picture 2___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4594" y="3084513"/>
            <a:ext cx="498475" cy="135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kstvak 34______"/>
          <p:cNvSpPr txBox="1"/>
          <p:nvPr/>
        </p:nvSpPr>
        <p:spPr>
          <a:xfrm>
            <a:off x="6503566" y="4625975"/>
            <a:ext cx="1020762" cy="153888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en-US" sz="1000" dirty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40W </a:t>
            </a:r>
            <a:r>
              <a:rPr lang="en-US" sz="1000" dirty="0" smtClean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DIM</a:t>
            </a:r>
            <a:endParaRPr lang="pl-PL" sz="1000" dirty="0">
              <a:solidFill>
                <a:schemeClr val="accent6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sp>
        <p:nvSpPr>
          <p:cNvPr id="37920" name="Tekstvak 41___"/>
          <p:cNvSpPr txBox="1">
            <a:spLocks noChangeArrowheads="1"/>
          </p:cNvSpPr>
          <p:nvPr/>
        </p:nvSpPr>
        <p:spPr bwMode="auto">
          <a:xfrm>
            <a:off x="5436096" y="6111875"/>
            <a:ext cx="10271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l-PL" altLang="en-US" sz="1000" dirty="0" smtClean="0">
                <a:solidFill>
                  <a:srgbClr val="F37B18"/>
                </a:solidFill>
              </a:rPr>
              <a:t>65W WW 36D</a:t>
            </a:r>
          </a:p>
          <a:p>
            <a:pPr algn="ctr" eaLnBrk="1" hangingPunct="1"/>
            <a:r>
              <a:rPr lang="nl-NL" altLang="en-US" sz="1000" dirty="0" smtClean="0">
                <a:solidFill>
                  <a:srgbClr val="F37B18"/>
                </a:solidFill>
              </a:rPr>
              <a:t>65W</a:t>
            </a:r>
            <a:r>
              <a:rPr lang="pl-PL" altLang="en-US" sz="1000" dirty="0" smtClean="0">
                <a:solidFill>
                  <a:srgbClr val="F37B18"/>
                </a:solidFill>
              </a:rPr>
              <a:t> </a:t>
            </a:r>
            <a:r>
              <a:rPr lang="nl-NL" altLang="en-US" sz="1000" dirty="0" smtClean="0">
                <a:solidFill>
                  <a:srgbClr val="F37B18"/>
                </a:solidFill>
              </a:rPr>
              <a:t>CW </a:t>
            </a:r>
            <a:r>
              <a:rPr lang="nl-NL" altLang="en-US" sz="1000" dirty="0">
                <a:solidFill>
                  <a:srgbClr val="F37B18"/>
                </a:solidFill>
              </a:rPr>
              <a:t>36D </a:t>
            </a:r>
          </a:p>
          <a:p>
            <a:pPr algn="ctr" eaLnBrk="1" hangingPunct="1"/>
            <a:endParaRPr lang="nl-NL" altLang="en-US" sz="1000" dirty="0">
              <a:solidFill>
                <a:srgbClr val="F37B18"/>
              </a:solidFill>
            </a:endParaRPr>
          </a:p>
        </p:txBody>
      </p:sp>
      <p:pic>
        <p:nvPicPr>
          <p:cNvPr id="37921" name="Picture 5___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977" y="5319713"/>
            <a:ext cx="5683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kstvak 34_____"/>
          <p:cNvSpPr txBox="1"/>
          <p:nvPr/>
        </p:nvSpPr>
        <p:spPr>
          <a:xfrm>
            <a:off x="8460432" y="2554933"/>
            <a:ext cx="1474787" cy="1539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hangingPunct="1">
              <a:defRPr/>
            </a:pPr>
            <a:r>
              <a:rPr lang="en-US" sz="1000" dirty="0">
                <a:solidFill>
                  <a:schemeClr val="accent6"/>
                </a:solidFill>
                <a:latin typeface="Calibri"/>
                <a:ea typeface="ＭＳ Ｐゴシック" charset="0"/>
                <a:cs typeface="ＭＳ Ｐゴシック" charset="0"/>
              </a:rPr>
              <a:t>100W </a:t>
            </a:r>
            <a:endParaRPr lang="pl-PL" sz="1000" dirty="0">
              <a:solidFill>
                <a:schemeClr val="accent6"/>
              </a:solidFill>
              <a:latin typeface="Calibri"/>
              <a:ea typeface="ＭＳ Ｐゴシック" charset="0"/>
              <a:cs typeface="ＭＳ Ｐゴシック" charset="0"/>
            </a:endParaRPr>
          </a:p>
        </p:txBody>
      </p:sp>
      <p:pic>
        <p:nvPicPr>
          <p:cNvPr id="37" name="Picture 2_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152" y="3055987"/>
            <a:ext cx="508000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kstvak 37"/>
          <p:cNvSpPr txBox="1">
            <a:spLocks noChangeArrowheads="1"/>
          </p:cNvSpPr>
          <p:nvPr/>
        </p:nvSpPr>
        <p:spPr bwMode="auto">
          <a:xfrm>
            <a:off x="5220072" y="4581128"/>
            <a:ext cx="99060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pl-PL" altLang="en-US" sz="1000" dirty="0" smtClean="0">
                <a:solidFill>
                  <a:srgbClr val="F37B18"/>
                </a:solidFill>
              </a:rPr>
              <a:t>40</a:t>
            </a:r>
            <a:r>
              <a:rPr lang="nl-NL" altLang="en-US" sz="1000" dirty="0" smtClean="0">
                <a:solidFill>
                  <a:srgbClr val="F37B18"/>
                </a:solidFill>
              </a:rPr>
              <a:t>W </a:t>
            </a:r>
            <a:endParaRPr lang="nl-NL" altLang="en-US" sz="1000" dirty="0">
              <a:solidFill>
                <a:srgbClr val="F37B18"/>
              </a:solidFill>
            </a:endParaRPr>
          </a:p>
        </p:txBody>
      </p:sp>
      <p:pic>
        <p:nvPicPr>
          <p:cNvPr id="42" name="Picture 2_____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1268760"/>
            <a:ext cx="568325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331392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nl-NL" altLang="en-US" dirty="0" smtClean="0">
                <a:solidFill>
                  <a:srgbClr val="F37B18"/>
                </a:solidFill>
              </a:rPr>
              <a:t>LED bulb</a:t>
            </a:r>
            <a:r>
              <a:rPr lang="nl-NL" altLang="en-US" sz="1800" dirty="0" smtClean="0">
                <a:solidFill>
                  <a:srgbClr val="F37B18"/>
                </a:solidFill>
              </a:rPr>
              <a:t>- PILA LED 40W E27 WW A60 ND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114785"/>
              </p:ext>
            </p:extLst>
          </p:nvPr>
        </p:nvGraphicFramePr>
        <p:xfrm>
          <a:off x="5486400" y="1119188"/>
          <a:ext cx="3576638" cy="5403851"/>
        </p:xfrm>
        <a:graphic>
          <a:graphicData uri="http://schemas.openxmlformats.org/drawingml/2006/table">
            <a:tbl>
              <a:tblPr/>
              <a:tblGrid>
                <a:gridCol w="1749896"/>
                <a:gridCol w="1826742"/>
              </a:tblGrid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40W E27 A60 ND 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18696485361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1747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0x112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.5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27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7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1790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1791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" y="1317625"/>
            <a:ext cx="2343150" cy="438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92" name="Picture 3_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93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00907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nl-NL" altLang="en-US" dirty="0" smtClean="0">
                <a:solidFill>
                  <a:srgbClr val="F37B18"/>
                </a:solidFill>
              </a:rPr>
              <a:t>LED bulb</a:t>
            </a:r>
            <a:r>
              <a:rPr lang="nl-NL" altLang="en-US" sz="1800" dirty="0" smtClean="0">
                <a:solidFill>
                  <a:srgbClr val="F37B18"/>
                </a:solidFill>
              </a:rPr>
              <a:t>- PILA LED </a:t>
            </a:r>
            <a:r>
              <a:rPr lang="pl-PL" altLang="en-US" sz="1800" dirty="0" smtClean="0">
                <a:solidFill>
                  <a:srgbClr val="F37B18"/>
                </a:solidFill>
              </a:rPr>
              <a:t>6</a:t>
            </a:r>
            <a:r>
              <a:rPr lang="nl-NL" altLang="en-US" sz="1800" dirty="0" smtClean="0">
                <a:solidFill>
                  <a:srgbClr val="F37B18"/>
                </a:solidFill>
              </a:rPr>
              <a:t>0W E27 WW A60 ND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9756896"/>
              </p:ext>
            </p:extLst>
          </p:nvPr>
        </p:nvGraphicFramePr>
        <p:xfrm>
          <a:off x="5486400" y="1119188"/>
          <a:ext cx="3325897" cy="5365752"/>
        </p:xfrm>
        <a:graphic>
          <a:graphicData uri="http://schemas.openxmlformats.org/drawingml/2006/table">
            <a:tbl>
              <a:tblPr/>
              <a:tblGrid>
                <a:gridCol w="1526143"/>
                <a:gridCol w="1799754"/>
              </a:tblGrid>
              <a:tr h="5889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W E27 A60 ND 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464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pl-PL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718696485385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117475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0x112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9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5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6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27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6</a:t>
                      </a:r>
                      <a:endParaRPr kumimoji="0" lang="nl-NL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7997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7997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2814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2815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25" y="1317625"/>
            <a:ext cx="2343150" cy="438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816" name="Picture 3_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817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35725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6247"/>
              </p:ext>
            </p:extLst>
          </p:nvPr>
        </p:nvGraphicFramePr>
        <p:xfrm>
          <a:off x="2154238" y="3865563"/>
          <a:ext cx="6666235" cy="1912936"/>
        </p:xfrm>
        <a:graphic>
          <a:graphicData uri="http://schemas.openxmlformats.org/drawingml/2006/table">
            <a:tbl>
              <a:tblPr/>
              <a:tblGrid>
                <a:gridCol w="1664777"/>
                <a:gridCol w="992942"/>
                <a:gridCol w="668086"/>
                <a:gridCol w="668086"/>
                <a:gridCol w="668086"/>
                <a:gridCol w="668086"/>
                <a:gridCol w="668086"/>
                <a:gridCol w="668086"/>
              </a:tblGrid>
              <a:tr h="627062"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r>
                        <a:rPr kumimoji="0" lang="pl-PL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107986" marR="5871" marT="6227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EAN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pl-PL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</a:t>
                      </a:r>
                      <a:r>
                        <a:rPr kumimoji="0" lang="pl-PL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Wattage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  <a:cs typeface="Calibri" pitchFamily="34" charset="0"/>
                        </a:rPr>
                        <a:t>Flux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  <a:tc>
                  <a:txBody>
                    <a:bodyPr/>
                    <a:lstStyle>
                      <a:lvl1pPr defTabSz="45720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 defTabSz="45720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 defTabSz="4572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 defTabSz="4572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</a:t>
                      </a:r>
                      <a:endParaRPr kumimoji="0" lang="en-US" altLang="pl-PL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  <a:cs typeface="Calibri" pitchFamily="34" charset="0"/>
                      </a:endParaRPr>
                    </a:p>
                  </a:txBody>
                  <a:tcPr marL="0" marR="5871" marT="0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8300"/>
                    </a:solidFill>
                  </a:tcPr>
                </a:tc>
              </a:tr>
              <a:tr h="64293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</a:t>
                      </a:r>
                      <a:r>
                        <a:rPr kumimoji="0" lang="en-US" altLang="pl-P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ILA LED 75W E27 WW A60 FR ND </a:t>
                      </a:r>
                      <a:endParaRPr kumimoji="0" lang="en-US" altLang="pl-PL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526910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3" marR="9523" marT="9525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75</a:t>
                      </a: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2W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055 lm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  <a:endParaRPr kumimoji="0" lang="en-US" altLang="pl-PL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293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100W E27 WW A6</a:t>
                      </a:r>
                      <a:r>
                        <a:rPr kumimoji="0" lang="pl-PL" altLang="pl-P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7</a:t>
                      </a:r>
                      <a:r>
                        <a:rPr kumimoji="0" lang="en-US" altLang="pl-PL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FR ND </a:t>
                      </a:r>
                      <a:endParaRPr kumimoji="0" lang="en-US" altLang="pl-PL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BE5B0A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u="none" strike="noStrike" dirty="0" smtClean="0">
                          <a:effectLst/>
                        </a:rPr>
                        <a:t>8718696526934</a:t>
                      </a:r>
                      <a:endParaRPr lang="pl-PL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Tahoma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00</a:t>
                      </a: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BE5B0A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,5W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21 lm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BE5B0A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pl-PL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  <a:endParaRPr kumimoji="0" lang="en-US" altLang="pl-PL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BE5B0A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9523" marR="9523" marT="9525" marB="0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981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31772" name="Picture 2____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1620838"/>
            <a:ext cx="1795462" cy="3348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74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7650" y="119063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77" name="Picture 3_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6738" y="1639888"/>
            <a:ext cx="847725" cy="104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27462" y="332656"/>
            <a:ext cx="8176985" cy="791308"/>
          </a:xfrm>
        </p:spPr>
        <p:txBody>
          <a:bodyPr/>
          <a:lstStyle/>
          <a:p>
            <a:r>
              <a:rPr lang="nl-NL" altLang="en-US" dirty="0">
                <a:solidFill>
                  <a:srgbClr val="F37B18"/>
                </a:solidFill>
              </a:rPr>
              <a:t>LED </a:t>
            </a:r>
            <a:r>
              <a:rPr lang="nl-NL" altLang="en-US" dirty="0" smtClean="0">
                <a:solidFill>
                  <a:srgbClr val="F37B18"/>
                </a:solidFill>
              </a:rPr>
              <a:t>bulb</a:t>
            </a:r>
            <a:r>
              <a:rPr lang="pl-PL" altLang="en-US" dirty="0" smtClean="0">
                <a:solidFill>
                  <a:srgbClr val="F37B18"/>
                </a:solidFill>
              </a:rPr>
              <a:t> </a:t>
            </a:r>
            <a:r>
              <a:rPr lang="nl-NL" altLang="en-US" dirty="0" smtClean="0">
                <a:solidFill>
                  <a:srgbClr val="F37B18"/>
                </a:solidFill>
              </a:rPr>
              <a:t>- </a:t>
            </a:r>
            <a:r>
              <a:rPr lang="nl-NL" altLang="en-US" dirty="0">
                <a:solidFill>
                  <a:srgbClr val="F37B18"/>
                </a:solidFill>
              </a:rPr>
              <a:t>PILA LED </a:t>
            </a:r>
            <a:r>
              <a:rPr lang="pl-PL" altLang="en-US" dirty="0" smtClean="0">
                <a:solidFill>
                  <a:srgbClr val="F37B18"/>
                </a:solidFill>
              </a:rPr>
              <a:t>75</a:t>
            </a:r>
            <a:r>
              <a:rPr lang="nl-NL" altLang="en-US" dirty="0" smtClean="0">
                <a:solidFill>
                  <a:srgbClr val="F37B18"/>
                </a:solidFill>
              </a:rPr>
              <a:t>W </a:t>
            </a:r>
            <a:r>
              <a:rPr lang="pl-PL" altLang="en-US" dirty="0" smtClean="0">
                <a:solidFill>
                  <a:srgbClr val="F37B18"/>
                </a:solidFill>
              </a:rPr>
              <a:t>and  100W </a:t>
            </a:r>
            <a:r>
              <a:rPr lang="nl-NL" altLang="en-US" dirty="0" smtClean="0">
                <a:solidFill>
                  <a:srgbClr val="F37B18"/>
                </a:solidFill>
              </a:rPr>
              <a:t>E27 </a:t>
            </a:r>
            <a:r>
              <a:rPr lang="nl-NL" altLang="en-US" dirty="0">
                <a:solidFill>
                  <a:srgbClr val="F37B18"/>
                </a:solidFill>
              </a:rPr>
              <a:t>WW </a:t>
            </a:r>
            <a:endParaRPr lang="en-US" dirty="0"/>
          </a:p>
        </p:txBody>
      </p:sp>
      <p:sp>
        <p:nvSpPr>
          <p:cNvPr id="10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7453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nl-NL" altLang="en-US" sz="3200" dirty="0" smtClean="0">
                <a:solidFill>
                  <a:srgbClr val="F37B18"/>
                </a:solidFill>
              </a:rPr>
              <a:t>LED lustre </a:t>
            </a:r>
            <a:r>
              <a:rPr lang="nl-NL" altLang="en-US" sz="2000" dirty="0" smtClean="0">
                <a:solidFill>
                  <a:srgbClr val="F37B18"/>
                </a:solidFill>
              </a:rPr>
              <a:t>- </a:t>
            </a:r>
            <a:r>
              <a:rPr lang="pl-PL" altLang="en-US" sz="2000" dirty="0" smtClean="0">
                <a:solidFill>
                  <a:srgbClr val="F37B18"/>
                </a:solidFill>
              </a:rPr>
              <a:t>PILA LED </a:t>
            </a:r>
            <a:r>
              <a:rPr lang="en-US" altLang="en-US" sz="2000" dirty="0" smtClean="0">
                <a:solidFill>
                  <a:srgbClr val="F37B18"/>
                </a:solidFill>
              </a:rPr>
              <a:t>40</a:t>
            </a:r>
            <a:r>
              <a:rPr lang="pl-PL" altLang="en-US" sz="2000" dirty="0" smtClean="0">
                <a:solidFill>
                  <a:srgbClr val="F37B18"/>
                </a:solidFill>
              </a:rPr>
              <a:t>W E14 WW P4</a:t>
            </a:r>
            <a:r>
              <a:rPr lang="en-US" altLang="en-US" sz="2000" dirty="0" smtClean="0">
                <a:solidFill>
                  <a:srgbClr val="F37B18"/>
                </a:solidFill>
              </a:rPr>
              <a:t>5</a:t>
            </a:r>
            <a:r>
              <a:rPr lang="pl-PL" altLang="en-US" sz="2000" dirty="0" smtClean="0">
                <a:solidFill>
                  <a:srgbClr val="F37B18"/>
                </a:solidFill>
              </a:rPr>
              <a:t> FR ND</a:t>
            </a:r>
            <a:r>
              <a:rPr lang="en-US" altLang="en-US" sz="20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674345"/>
              </p:ext>
            </p:extLst>
          </p:nvPr>
        </p:nvGraphicFramePr>
        <p:xfrm>
          <a:off x="5486400" y="1119188"/>
          <a:ext cx="3568700" cy="5497513"/>
        </p:xfrm>
        <a:graphic>
          <a:graphicData uri="http://schemas.openxmlformats.org/drawingml/2006/table">
            <a:tbl>
              <a:tblPr/>
              <a:tblGrid>
                <a:gridCol w="1677888"/>
                <a:gridCol w="1890812"/>
              </a:tblGrid>
              <a:tr h="64011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40W E14 WW P45 FR ND </a:t>
                      </a:r>
                      <a:endParaRPr kumimoji="0" lang="nl-NL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67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347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5x79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.5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14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47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5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31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8031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3838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3839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4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4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263" y="1966913"/>
            <a:ext cx="2149475" cy="377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72806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jdelijke aanduiding voor tekst 1"/>
          <p:cNvSpPr>
            <a:spLocks noGrp="1"/>
          </p:cNvSpPr>
          <p:nvPr>
            <p:ph type="body" sz="quarter" idx="10"/>
          </p:nvPr>
        </p:nvSpPr>
        <p:spPr bwMode="auto">
          <a:xfrm>
            <a:off x="427038" y="273050"/>
            <a:ext cx="8177212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en-US" altLang="en-US" sz="3200" dirty="0" smtClean="0">
                <a:solidFill>
                  <a:srgbClr val="F37B18"/>
                </a:solidFill>
              </a:rPr>
              <a:t>LED candle </a:t>
            </a:r>
            <a:r>
              <a:rPr lang="en-US" altLang="en-US" sz="2000" dirty="0" smtClean="0">
                <a:solidFill>
                  <a:srgbClr val="F37B18"/>
                </a:solidFill>
              </a:rPr>
              <a:t>- PILA LED 25W E14 WW B35 FR ND </a:t>
            </a:r>
          </a:p>
          <a:p>
            <a:pPr>
              <a:spcBef>
                <a:spcPct val="0"/>
              </a:spcBef>
            </a:pPr>
            <a:r>
              <a:rPr lang="en-US" altLang="en-US" sz="24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r>
              <a:rPr lang="nl-NL" altLang="en-US" sz="1800" dirty="0" smtClean="0">
                <a:solidFill>
                  <a:srgbClr val="F37B18"/>
                </a:solidFill>
              </a:rPr>
              <a:t> </a:t>
            </a:r>
          </a:p>
          <a:p>
            <a:pPr>
              <a:spcBef>
                <a:spcPct val="0"/>
              </a:spcBef>
            </a:pPr>
            <a:endParaRPr lang="nl-NL" altLang="en-US" dirty="0" smtClean="0">
              <a:solidFill>
                <a:srgbClr val="F37B18"/>
              </a:solidFill>
            </a:endParaRPr>
          </a:p>
        </p:txBody>
      </p:sp>
      <p:graphicFrame>
        <p:nvGraphicFramePr>
          <p:cNvPr id="5" name="Tabe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389337"/>
              </p:ext>
            </p:extLst>
          </p:nvPr>
        </p:nvGraphicFramePr>
        <p:xfrm>
          <a:off x="5486400" y="1119188"/>
          <a:ext cx="3576638" cy="5403851"/>
        </p:xfrm>
        <a:graphic>
          <a:graphicData uri="http://schemas.openxmlformats.org/drawingml/2006/table">
            <a:tbl>
              <a:tblPr/>
              <a:tblGrid>
                <a:gridCol w="1677888"/>
                <a:gridCol w="1898750"/>
              </a:tblGrid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escrip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a-DK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PILA LED 25W E14 B35 FR ND </a:t>
                      </a:r>
                      <a:endParaRPr kumimoji="0" lang="nl-NL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AN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18696485248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ize</a:t>
                      </a: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mm)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indent="117475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117475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6x97</a:t>
                      </a:r>
                      <a:endParaRPr kumimoji="0" lang="en-US" alt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Wattag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3.2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GLS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quivalent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W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5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ap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E14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um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.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flux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lm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5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CT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K) 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2700K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8896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RI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(Ra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8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Lifetime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(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hrs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)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5 </a:t>
                      </a: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00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Switching</a:t>
                      </a:r>
                      <a:r>
                        <a:rPr kumimoji="0" lang="pl-P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 </a:t>
                      </a: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ycles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15000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l-PL" altLang="en-US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Dimmable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no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4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rtification</a:t>
                      </a:r>
                      <a:endParaRPr kumimoji="0" lang="nl-NL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 pitchFamily="34" charset="-128"/>
                      </a:endParaRPr>
                    </a:p>
                  </a:txBody>
                  <a:tcPr marL="108000" marR="0" marT="0" marB="0" anchor="ctr" horzOverflow="overflow">
                    <a:lnL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ＭＳ Ｐゴシック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 pitchFamily="34" charset="-128"/>
                        </a:rPr>
                        <a:t>CE</a:t>
                      </a:r>
                    </a:p>
                  </a:txBody>
                  <a:tcPr marL="108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98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4862" name="Rechthoek 2"/>
          <p:cNvSpPr>
            <a:spLocks noChangeArrowheads="1"/>
          </p:cNvSpPr>
          <p:nvPr/>
        </p:nvSpPr>
        <p:spPr bwMode="auto">
          <a:xfrm>
            <a:off x="3233738" y="1508125"/>
            <a:ext cx="205422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2550" indent="-825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15 </a:t>
            </a:r>
            <a:r>
              <a:rPr lang="pl-PL" altLang="en-US" dirty="0" err="1" smtClean="0">
                <a:solidFill>
                  <a:srgbClr val="000000"/>
                </a:solidFill>
              </a:rPr>
              <a:t>years</a:t>
            </a:r>
            <a:r>
              <a:rPr lang="pl-PL" altLang="en-US" dirty="0" smtClean="0">
                <a:solidFill>
                  <a:srgbClr val="000000"/>
                </a:solidFill>
              </a:rPr>
              <a:t> </a:t>
            </a:r>
            <a:r>
              <a:rPr lang="pl-PL" altLang="en-US" dirty="0" err="1" smtClean="0">
                <a:solidFill>
                  <a:srgbClr val="000000"/>
                </a:solidFill>
              </a:rPr>
              <a:t>lifetime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en-US" altLang="en-US" dirty="0" smtClean="0">
                <a:solidFill>
                  <a:srgbClr val="000000"/>
                </a:solidFill>
              </a:rPr>
              <a:t>Up to 85% energy saving</a:t>
            </a:r>
            <a:endParaRPr lang="en-US" altLang="en-US" dirty="0">
              <a:solidFill>
                <a:srgbClr val="000000"/>
              </a:solidFill>
            </a:endParaRPr>
          </a:p>
          <a:p>
            <a:pPr eaLnBrk="1" hangingPunct="1">
              <a:buClr>
                <a:srgbClr val="F37B18"/>
              </a:buClr>
              <a:buFont typeface="Arial" charset="0"/>
              <a:buChar char="•"/>
            </a:pPr>
            <a:r>
              <a:rPr lang="pl-PL" altLang="en-US" dirty="0" smtClean="0">
                <a:solidFill>
                  <a:srgbClr val="000000"/>
                </a:solidFill>
              </a:rPr>
              <a:t>Instant start</a:t>
            </a:r>
            <a:endParaRPr lang="en-US" altLang="en-US" dirty="0">
              <a:solidFill>
                <a:srgbClr val="000000"/>
              </a:solidFill>
            </a:endParaRPr>
          </a:p>
        </p:txBody>
      </p:sp>
      <p:pic>
        <p:nvPicPr>
          <p:cNvPr id="34863" name="Picture 3_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0300" y="3937000"/>
            <a:ext cx="846138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64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8425" y="0"/>
            <a:ext cx="10477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67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50" y="1485900"/>
            <a:ext cx="1608138" cy="4367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44676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0</TotalTime>
  <Words>1138</Words>
  <Application>Microsoft Office PowerPoint</Application>
  <PresentationFormat>Slaidrāde ekrānā (4:3)</PresentationFormat>
  <Paragraphs>418</Paragraphs>
  <Slides>18</Slides>
  <Notes>11</Notes>
  <HiddenSlides>0</HiddenSlides>
  <MMClips>0</MMClips>
  <ScaleCrop>false</ScaleCrop>
  <HeadingPairs>
    <vt:vector size="8" baseType="variant">
      <vt:variant>
        <vt:lpstr>Lietotie fonti</vt:lpstr>
      </vt:variant>
      <vt:variant>
        <vt:i4>5</vt:i4>
      </vt:variant>
      <vt:variant>
        <vt:lpstr>Dizains</vt:lpstr>
      </vt:variant>
      <vt:variant>
        <vt:i4>1</vt:i4>
      </vt:variant>
      <vt:variant>
        <vt:lpstr>Iegulti OLE serveri</vt:lpstr>
      </vt:variant>
      <vt:variant>
        <vt:i4>1</vt:i4>
      </vt:variant>
      <vt:variant>
        <vt:lpstr>Slaidu virsraksti</vt:lpstr>
      </vt:variant>
      <vt:variant>
        <vt:i4>18</vt:i4>
      </vt:variant>
    </vt:vector>
  </HeadingPairs>
  <TitlesOfParts>
    <vt:vector size="25" baseType="lpstr">
      <vt:lpstr>Arial</vt:lpstr>
      <vt:lpstr>Calibri</vt:lpstr>
      <vt:lpstr>ＭＳ Ｐゴシック</vt:lpstr>
      <vt:lpstr>ＭＳ Ｐゴシック</vt:lpstr>
      <vt:lpstr>Tahoma</vt:lpstr>
      <vt:lpstr>Office Theme</vt:lpstr>
      <vt:lpstr>think-cell Slide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</vt:vector>
  </TitlesOfParts>
  <Company>Philip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hilips</dc:creator>
  <cp:lastModifiedBy>Girts Pekals</cp:lastModifiedBy>
  <cp:revision>88</cp:revision>
  <dcterms:created xsi:type="dcterms:W3CDTF">2014-09-16T13:00:32Z</dcterms:created>
  <dcterms:modified xsi:type="dcterms:W3CDTF">2015-11-03T08:16:18Z</dcterms:modified>
</cp:coreProperties>
</file>